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65" r:id="rId6"/>
    <p:sldMasterId id="2147483674" r:id="rId7"/>
  </p:sldMasterIdLst>
  <p:notesMasterIdLst>
    <p:notesMasterId r:id="rId16"/>
  </p:notesMasterIdLst>
  <p:sldIdLst>
    <p:sldId id="261" r:id="rId8"/>
    <p:sldId id="3591" r:id="rId9"/>
    <p:sldId id="3592" r:id="rId10"/>
    <p:sldId id="3593" r:id="rId11"/>
    <p:sldId id="3594" r:id="rId12"/>
    <p:sldId id="3595" r:id="rId13"/>
    <p:sldId id="3596" r:id="rId14"/>
    <p:sldId id="3597" r:id="rId15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16D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8410744-0E17-42CC-B821-EE8ECB1EB36E}" v="2" dt="2023-12-12T06:25:09.1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08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chael Skehan" userId="a971cc97-0c4b-4c31-b33c-27b44dd2de70" providerId="ADAL" clId="{C8410744-0E17-42CC-B821-EE8ECB1EB36E}"/>
    <pc:docChg chg="custSel modSld">
      <pc:chgData name="Rachael Skehan" userId="a971cc97-0c4b-4c31-b33c-27b44dd2de70" providerId="ADAL" clId="{C8410744-0E17-42CC-B821-EE8ECB1EB36E}" dt="2023-12-12T06:27:56.662" v="40" actId="34135"/>
      <pc:docMkLst>
        <pc:docMk/>
      </pc:docMkLst>
      <pc:sldChg chg="modSp">
        <pc:chgData name="Rachael Skehan" userId="a971cc97-0c4b-4c31-b33c-27b44dd2de70" providerId="ADAL" clId="{C8410744-0E17-42CC-B821-EE8ECB1EB36E}" dt="2023-12-12T06:24:42.862" v="2" actId="962"/>
        <pc:sldMkLst>
          <pc:docMk/>
          <pc:sldMk cId="923290539" sldId="261"/>
        </pc:sldMkLst>
        <pc:cxnChg chg="mod">
          <ac:chgData name="Rachael Skehan" userId="a971cc97-0c4b-4c31-b33c-27b44dd2de70" providerId="ADAL" clId="{C8410744-0E17-42CC-B821-EE8ECB1EB36E}" dt="2023-12-12T06:24:42.862" v="2" actId="962"/>
          <ac:cxnSpMkLst>
            <pc:docMk/>
            <pc:sldMk cId="923290539" sldId="261"/>
            <ac:cxnSpMk id="2" creationId="{EC50F809-2C99-06CD-4DD2-3DB34178A95B}"/>
          </ac:cxnSpMkLst>
        </pc:cxnChg>
      </pc:sldChg>
      <pc:sldChg chg="addSp delSp modSp mod">
        <pc:chgData name="Rachael Skehan" userId="a971cc97-0c4b-4c31-b33c-27b44dd2de70" providerId="ADAL" clId="{C8410744-0E17-42CC-B821-EE8ECB1EB36E}" dt="2023-12-12T06:27:56.662" v="40" actId="34135"/>
        <pc:sldMkLst>
          <pc:docMk/>
          <pc:sldMk cId="4256065508" sldId="3591"/>
        </pc:sldMkLst>
        <pc:spChg chg="del mod">
          <ac:chgData name="Rachael Skehan" userId="a971cc97-0c4b-4c31-b33c-27b44dd2de70" providerId="ADAL" clId="{C8410744-0E17-42CC-B821-EE8ECB1EB36E}" dt="2023-12-12T06:24:35.928" v="1" actId="478"/>
          <ac:spMkLst>
            <pc:docMk/>
            <pc:sldMk cId="4256065508" sldId="3591"/>
            <ac:spMk id="2" creationId="{4D246140-1BAB-E8CF-3028-2696D2072513}"/>
          </ac:spMkLst>
        </pc:spChg>
        <pc:spChg chg="mod">
          <ac:chgData name="Rachael Skehan" userId="a971cc97-0c4b-4c31-b33c-27b44dd2de70" providerId="ADAL" clId="{C8410744-0E17-42CC-B821-EE8ECB1EB36E}" dt="2023-12-12T06:27:56.662" v="40" actId="34135"/>
          <ac:spMkLst>
            <pc:docMk/>
            <pc:sldMk cId="4256065508" sldId="3591"/>
            <ac:spMk id="4" creationId="{F9962795-07C4-61D4-EF4A-A40B27A05DA0}"/>
          </ac:spMkLst>
        </pc:spChg>
        <pc:spChg chg="add del mod">
          <ac:chgData name="Rachael Skehan" userId="a971cc97-0c4b-4c31-b33c-27b44dd2de70" providerId="ADAL" clId="{C8410744-0E17-42CC-B821-EE8ECB1EB36E}" dt="2023-12-12T06:24:58.982" v="3" actId="478"/>
          <ac:spMkLst>
            <pc:docMk/>
            <pc:sldMk cId="4256065508" sldId="3591"/>
            <ac:spMk id="5" creationId="{AA99C100-0039-2F40-D76E-1F8310BBB68C}"/>
          </ac:spMkLst>
        </pc:spChg>
        <pc:spChg chg="mod">
          <ac:chgData name="Rachael Skehan" userId="a971cc97-0c4b-4c31-b33c-27b44dd2de70" providerId="ADAL" clId="{C8410744-0E17-42CC-B821-EE8ECB1EB36E}" dt="2023-12-12T06:27:50.661" v="39" actId="34135"/>
          <ac:spMkLst>
            <pc:docMk/>
            <pc:sldMk cId="4256065508" sldId="3591"/>
            <ac:spMk id="6" creationId="{B346A0B5-7426-63DF-7E8C-9991ACAF2391}"/>
          </ac:spMkLst>
        </pc:spChg>
        <pc:picChg chg="mod">
          <ac:chgData name="Rachael Skehan" userId="a971cc97-0c4b-4c31-b33c-27b44dd2de70" providerId="ADAL" clId="{C8410744-0E17-42CC-B821-EE8ECB1EB36E}" dt="2023-12-12T06:27:47.095" v="38" actId="34135"/>
          <ac:picMkLst>
            <pc:docMk/>
            <pc:sldMk cId="4256065508" sldId="3591"/>
            <ac:picMk id="1026" creationId="{3F9F98A7-FFF5-B9E5-3220-83C4140A4256}"/>
          </ac:picMkLst>
        </pc:picChg>
      </pc:sldChg>
      <pc:sldChg chg="delSp modSp mod">
        <pc:chgData name="Rachael Skehan" userId="a971cc97-0c4b-4c31-b33c-27b44dd2de70" providerId="ADAL" clId="{C8410744-0E17-42CC-B821-EE8ECB1EB36E}" dt="2023-12-12T06:25:28.566" v="6"/>
        <pc:sldMkLst>
          <pc:docMk/>
          <pc:sldMk cId="674144098" sldId="3592"/>
        </pc:sldMkLst>
        <pc:spChg chg="ord">
          <ac:chgData name="Rachael Skehan" userId="a971cc97-0c4b-4c31-b33c-27b44dd2de70" providerId="ADAL" clId="{C8410744-0E17-42CC-B821-EE8ECB1EB36E}" dt="2023-12-12T06:25:28.566" v="6"/>
          <ac:spMkLst>
            <pc:docMk/>
            <pc:sldMk cId="674144098" sldId="3592"/>
            <ac:spMk id="2" creationId="{3B9A2303-6E6D-1D70-6F7E-E1B9C80575CC}"/>
          </ac:spMkLst>
        </pc:spChg>
        <pc:spChg chg="del">
          <ac:chgData name="Rachael Skehan" userId="a971cc97-0c4b-4c31-b33c-27b44dd2de70" providerId="ADAL" clId="{C8410744-0E17-42CC-B821-EE8ECB1EB36E}" dt="2023-12-12T06:25:19.039" v="5" actId="478"/>
          <ac:spMkLst>
            <pc:docMk/>
            <pc:sldMk cId="674144098" sldId="3592"/>
            <ac:spMk id="3" creationId="{3B1522E5-2619-786C-42D8-B27C4F6ED28F}"/>
          </ac:spMkLst>
        </pc:spChg>
      </pc:sldChg>
      <pc:sldChg chg="modSp mod">
        <pc:chgData name="Rachael Skehan" userId="a971cc97-0c4b-4c31-b33c-27b44dd2de70" providerId="ADAL" clId="{C8410744-0E17-42CC-B821-EE8ECB1EB36E}" dt="2023-12-12T06:26:42.272" v="37" actId="20577"/>
        <pc:sldMkLst>
          <pc:docMk/>
          <pc:sldMk cId="3689900723" sldId="3594"/>
        </pc:sldMkLst>
        <pc:spChg chg="mod">
          <ac:chgData name="Rachael Skehan" userId="a971cc97-0c4b-4c31-b33c-27b44dd2de70" providerId="ADAL" clId="{C8410744-0E17-42CC-B821-EE8ECB1EB36E}" dt="2023-12-12T06:26:42.272" v="37" actId="20577"/>
          <ac:spMkLst>
            <pc:docMk/>
            <pc:sldMk cId="3689900723" sldId="3594"/>
            <ac:spMk id="2" creationId="{97AAF731-31FF-FEE2-63C5-5C9FB46141DF}"/>
          </ac:spMkLst>
        </pc:spChg>
      </pc:sldChg>
      <pc:sldChg chg="modSp mod">
        <pc:chgData name="Rachael Skehan" userId="a971cc97-0c4b-4c31-b33c-27b44dd2de70" providerId="ADAL" clId="{C8410744-0E17-42CC-B821-EE8ECB1EB36E}" dt="2023-12-12T06:26:21.205" v="24" actId="20577"/>
        <pc:sldMkLst>
          <pc:docMk/>
          <pc:sldMk cId="2746739147" sldId="3595"/>
        </pc:sldMkLst>
        <pc:spChg chg="mod">
          <ac:chgData name="Rachael Skehan" userId="a971cc97-0c4b-4c31-b33c-27b44dd2de70" providerId="ADAL" clId="{C8410744-0E17-42CC-B821-EE8ECB1EB36E}" dt="2023-12-12T06:26:21.205" v="24" actId="20577"/>
          <ac:spMkLst>
            <pc:docMk/>
            <pc:sldMk cId="2746739147" sldId="3595"/>
            <ac:spMk id="2" creationId="{DB0F8969-3407-3DB8-3A41-C241B906C3D1}"/>
          </ac:spMkLst>
        </pc:spChg>
      </pc:sldChg>
      <pc:sldChg chg="modSp mod">
        <pc:chgData name="Rachael Skehan" userId="a971cc97-0c4b-4c31-b33c-27b44dd2de70" providerId="ADAL" clId="{C8410744-0E17-42CC-B821-EE8ECB1EB36E}" dt="2023-12-12T06:26:01.919" v="13" actId="20577"/>
        <pc:sldMkLst>
          <pc:docMk/>
          <pc:sldMk cId="417825424" sldId="3596"/>
        </pc:sldMkLst>
        <pc:spChg chg="mod">
          <ac:chgData name="Rachael Skehan" userId="a971cc97-0c4b-4c31-b33c-27b44dd2de70" providerId="ADAL" clId="{C8410744-0E17-42CC-B821-EE8ECB1EB36E}" dt="2023-12-12T06:26:01.919" v="13" actId="20577"/>
          <ac:spMkLst>
            <pc:docMk/>
            <pc:sldMk cId="417825424" sldId="3596"/>
            <ac:spMk id="2" creationId="{9FE37CA4-51A8-BA92-E296-E891C31613C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115953-A010-4CE9-9E40-67326E9E5DC5}" type="datetimeFigureOut">
              <a:rPr lang="en-AU" smtClean="0"/>
              <a:t>12/12/2023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77C58E-8FF7-4532-A014-090146EB26D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2587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AB4635-AA39-4CDF-AA0F-577B9C19F449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65072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77C58E-8FF7-4532-A014-090146EB26D0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959609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0.w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2.wmf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overnment of Western Australia, Department of Communities logo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1" y="777"/>
            <a:ext cx="12190017" cy="68568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2880004"/>
            <a:ext cx="11067404" cy="1822629"/>
          </a:xfrm>
        </p:spPr>
        <p:txBody>
          <a:bodyPr anchor="t">
            <a:noAutofit/>
          </a:bodyPr>
          <a:lstStyle>
            <a:lvl1pPr algn="l">
              <a:defRPr sz="6400" b="1">
                <a:solidFill>
                  <a:srgbClr val="D6361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2" y="4860006"/>
            <a:ext cx="11067404" cy="1053193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 algn="ctr">
              <a:buNone/>
              <a:defRPr sz="2667"/>
            </a:lvl2pPr>
            <a:lvl3pPr marL="1219108" indent="0" algn="ctr">
              <a:buNone/>
              <a:defRPr sz="2400"/>
            </a:lvl3pPr>
            <a:lvl4pPr marL="1828664" indent="0" algn="ctr">
              <a:buNone/>
              <a:defRPr sz="2133"/>
            </a:lvl4pPr>
            <a:lvl5pPr marL="2438218" indent="0" algn="ctr">
              <a:buNone/>
              <a:defRPr sz="2133"/>
            </a:lvl5pPr>
            <a:lvl6pPr marL="3047772" indent="0" algn="ctr">
              <a:buNone/>
              <a:defRPr sz="2133"/>
            </a:lvl6pPr>
            <a:lvl7pPr marL="3657325" indent="0" algn="ctr">
              <a:buNone/>
              <a:defRPr sz="2133"/>
            </a:lvl7pPr>
            <a:lvl8pPr marL="4266880" indent="0" algn="ctr">
              <a:buNone/>
              <a:defRPr sz="2133"/>
            </a:lvl8pPr>
            <a:lvl9pPr marL="487643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94113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76209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9171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8562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2F90280-9052-42B5-B218-FAB3FF9EDD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29895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2F90280-9052-42B5-B218-FAB3FF9EDD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E10192-DDA0-4F72-8E65-96F4950531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AU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332492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61745" y="5605202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1" y="6019189"/>
            <a:ext cx="3087667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1" y="6216807"/>
            <a:ext cx="3087667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0F898568-1B78-454B-9FE7-9E37EEF85A8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6739" y="457199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105A121-2DA3-4610-BC32-EBB7F8ABAF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5101" y="1476597"/>
            <a:ext cx="5084552" cy="8604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AU" dirty="0"/>
              <a:t>Use Panels to hold statements</a:t>
            </a:r>
            <a:endParaRPr lang="en-GB" dirty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61BB2EE4-E5D4-4DD9-97C5-CF16A0A232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5103" y="2422864"/>
            <a:ext cx="5084552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403A0AAB-2D99-480E-8BCB-0300B2E4CA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80651" y="5340350"/>
            <a:ext cx="1316567" cy="1157288"/>
            <a:chOff x="4857" y="3364"/>
            <a:chExt cx="622" cy="729"/>
          </a:xfrm>
        </p:grpSpPr>
        <p:sp>
          <p:nvSpPr>
            <p:cNvPr id="6" name="AutoShape 3">
              <a:extLst>
                <a:ext uri="{FF2B5EF4-FFF2-40B4-BE49-F238E27FC236}">
                  <a16:creationId xmlns:a16="http://schemas.microsoft.com/office/drawing/2014/main" id="{136D971F-E278-4FE8-BAE4-2AD4D04270F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1954568E-D3F2-4EA1-8901-CBA2FF03DD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E19C9D94-B5B9-4323-A444-83000773662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14F1DE27-AD0C-4A9A-9D8D-4F823ECEAD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1" y="5914642"/>
            <a:ext cx="768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4796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FF8A4E-7F91-486F-8013-AEB3E694F8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53427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FF8A4E-7F91-486F-8013-AEB3E694F8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1BB412-3574-409B-9AA3-18891E0D2E1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AU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332492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61745" y="5605202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9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4" y="6019189"/>
            <a:ext cx="3087667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4" y="6216807"/>
            <a:ext cx="3087667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160A7550-5D67-4923-A7BC-21E83221544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6739" y="457199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D57A982A-5252-472B-BD55-97D5153213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5101" y="1476597"/>
            <a:ext cx="5084552" cy="8604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AU" dirty="0"/>
              <a:t>Use Panels to hold statements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F809C9F7-7674-4F00-8A7B-4EBDB5F94FB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15103" y="2422864"/>
            <a:ext cx="5084552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  <a:endParaRPr lang="en-GB" sz="1600" dirty="0"/>
          </a:p>
        </p:txBody>
      </p:sp>
      <p:grpSp>
        <p:nvGrpSpPr>
          <p:cNvPr id="22" name="Group 4">
            <a:extLst>
              <a:ext uri="{FF2B5EF4-FFF2-40B4-BE49-F238E27FC236}">
                <a16:creationId xmlns:a16="http://schemas.microsoft.com/office/drawing/2014/main" id="{2FBA4DFB-2D74-4887-91FA-9FE36EADD25F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80651" y="5340350"/>
            <a:ext cx="1316567" cy="1157288"/>
            <a:chOff x="4857" y="3364"/>
            <a:chExt cx="622" cy="729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B223B0E3-13DC-4092-840F-C19C33D0170D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20F86E7-783D-48A5-9A99-BBE51AD8B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EA618E4-F6E6-47C9-85C3-E1EF97EB6DF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</p:spTree>
    <p:extLst>
      <p:ext uri="{BB962C8B-B14F-4D97-AF65-F5344CB8AC3E}">
        <p14:creationId xmlns:p14="http://schemas.microsoft.com/office/powerpoint/2010/main" val="21119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71C936-A1F8-47FA-9C24-95EFCC256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2717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71C936-A1F8-47FA-9C24-95EFCC256C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55F221C-8F02-45B5-9E72-A88316BD8A4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AU" sz="28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EAA736A0-D2E9-4CA1-BF9F-5E33CF39B83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457200"/>
            <a:ext cx="6205727" cy="3930900"/>
          </a:xfrm>
          <a:prstGeom prst="rect">
            <a:avLst/>
          </a:prstGeom>
        </p:spPr>
      </p:pic>
      <p:grpSp>
        <p:nvGrpSpPr>
          <p:cNvPr id="79" name="Group 4">
            <a:extLst>
              <a:ext uri="{FF2B5EF4-FFF2-40B4-BE49-F238E27FC236}">
                <a16:creationId xmlns:a16="http://schemas.microsoft.com/office/drawing/2014/main" id="{A159D8C9-C19B-4DF7-9C5A-22EDB8A5FB9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80651" y="5340350"/>
            <a:ext cx="1316567" cy="1157288"/>
            <a:chOff x="4857" y="3364"/>
            <a:chExt cx="622" cy="729"/>
          </a:xfrm>
        </p:grpSpPr>
        <p:sp>
          <p:nvSpPr>
            <p:cNvPr id="80" name="AutoShape 3">
              <a:extLst>
                <a:ext uri="{FF2B5EF4-FFF2-40B4-BE49-F238E27FC236}">
                  <a16:creationId xmlns:a16="http://schemas.microsoft.com/office/drawing/2014/main" id="{D95FB310-FD8D-4315-8C3A-8966DC1515AB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id="{B0F72F2B-2B88-4D56-A5C3-5C83787BA0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id="{900DB62A-8F2A-4742-9C40-2FC7AA1823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23B9FB7E-B586-4378-AE43-0A9B9CA0B98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914517"/>
            <a:ext cx="5040000" cy="618750"/>
          </a:xfrm>
          <a:prstGeom prst="rect">
            <a:avLst/>
          </a:prstGeom>
        </p:spPr>
      </p:pic>
      <p:sp>
        <p:nvSpPr>
          <p:cNvPr id="124" name="Subtitle 2">
            <a:extLst>
              <a:ext uri="{FF2B5EF4-FFF2-40B4-BE49-F238E27FC236}">
                <a16:creationId xmlns:a16="http://schemas.microsoft.com/office/drawing/2014/main" id="{DE813F69-7E98-49B9-A563-B5D224235B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4255" y="2825612"/>
            <a:ext cx="4816919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25" name="Title 1">
            <a:extLst>
              <a:ext uri="{FF2B5EF4-FFF2-40B4-BE49-F238E27FC236}">
                <a16:creationId xmlns:a16="http://schemas.microsoft.com/office/drawing/2014/main" id="{6135F81D-3120-4669-8305-5AB7CAA050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84255" y="1855166"/>
            <a:ext cx="4816919" cy="860400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AU" dirty="0"/>
              <a:t>Use a Frame to frame your better ques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1940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E1C9AB-E5CB-466A-8C38-6A19B24EF0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81035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E1C9AB-E5CB-466A-8C38-6A19B24EF0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1C01DA-728E-43FB-988E-589B1B9F93F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AU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85" name="Group 4">
            <a:extLst>
              <a:ext uri="{FF2B5EF4-FFF2-40B4-BE49-F238E27FC236}">
                <a16:creationId xmlns:a16="http://schemas.microsoft.com/office/drawing/2014/main" id="{916D9572-5294-4C0A-83C4-99E45F89495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80651" y="5340350"/>
            <a:ext cx="1316567" cy="1157288"/>
            <a:chOff x="4857" y="3364"/>
            <a:chExt cx="622" cy="729"/>
          </a:xfrm>
        </p:grpSpPr>
        <p:sp>
          <p:nvSpPr>
            <p:cNvPr id="86" name="AutoShape 3">
              <a:extLst>
                <a:ext uri="{FF2B5EF4-FFF2-40B4-BE49-F238E27FC236}">
                  <a16:creationId xmlns:a16="http://schemas.microsoft.com/office/drawing/2014/main" id="{5667BEF9-3DFA-4239-A852-71BA27EC8E18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7" name="Freeform 5">
              <a:extLst>
                <a:ext uri="{FF2B5EF4-FFF2-40B4-BE49-F238E27FC236}">
                  <a16:creationId xmlns:a16="http://schemas.microsoft.com/office/drawing/2014/main" id="{7E85CBCB-BA9A-4374-A431-F4DC5F8079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5C0EF3BA-6104-4E1B-9F18-E642314A9A6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pic>
        <p:nvPicPr>
          <p:cNvPr id="89" name="Picture 88">
            <a:extLst>
              <a:ext uri="{FF2B5EF4-FFF2-40B4-BE49-F238E27FC236}">
                <a16:creationId xmlns:a16="http://schemas.microsoft.com/office/drawing/2014/main" id="{BEA87971-BB0B-4ED2-8AC3-71D5B1159A1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1" y="777241"/>
            <a:ext cx="9004300" cy="3400425"/>
          </a:xfrm>
          <a:prstGeom prst="rect">
            <a:avLst/>
          </a:prstGeom>
        </p:spPr>
      </p:pic>
      <p:sp>
        <p:nvSpPr>
          <p:cNvPr id="90" name="Subtitle 2">
            <a:extLst>
              <a:ext uri="{FF2B5EF4-FFF2-40B4-BE49-F238E27FC236}">
                <a16:creationId xmlns:a16="http://schemas.microsoft.com/office/drawing/2014/main" id="{D57E11BD-E2D9-41B1-9EF5-FF1EA0B8E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84255" y="3258529"/>
            <a:ext cx="7924576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1" name="Title 1">
            <a:extLst>
              <a:ext uri="{FF2B5EF4-FFF2-40B4-BE49-F238E27FC236}">
                <a16:creationId xmlns:a16="http://schemas.microsoft.com/office/drawing/2014/main" id="{9E850DE9-7D5E-499B-8FA1-4143F639E0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84255" y="2288083"/>
            <a:ext cx="792457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AU" dirty="0"/>
              <a:t>Use a Frame to frame your better question</a:t>
            </a:r>
            <a:endParaRPr lang="en-GB" dirty="0"/>
          </a:p>
        </p:txBody>
      </p:sp>
      <p:pic>
        <p:nvPicPr>
          <p:cNvPr id="92" name="Picture 91">
            <a:extLst>
              <a:ext uri="{FF2B5EF4-FFF2-40B4-BE49-F238E27FC236}">
                <a16:creationId xmlns:a16="http://schemas.microsoft.com/office/drawing/2014/main" id="{620AFF6A-D70F-482C-ACA4-D71330481F1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5914517"/>
            <a:ext cx="504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9688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84CBDA-5400-4C9D-A814-1CE6E3FD4F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325390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E953A5-C737-4248-AA71-62B4822F80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76701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E953A5-C737-4248-AA71-62B4822F80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A207A7E-161B-41D9-9449-598458C8E0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3ED2ADF-C3C7-4D61-8B10-4ED75087C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1745488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137921"/>
            <a:ext cx="7295843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2" y="2311401"/>
            <a:ext cx="3578253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3"/>
            <a:ext cx="3578253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099134-47E0-4E77-855E-45C10B9B8B1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3564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ecorative figure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" y="5"/>
            <a:ext cx="12203084" cy="126353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825625"/>
            <a:ext cx="10896000" cy="4351339"/>
          </a:xfrm>
        </p:spPr>
        <p:txBody>
          <a:bodyPr>
            <a:noAutofit/>
          </a:bodyPr>
          <a:lstStyle>
            <a:lvl1pPr marL="239178" indent="-239178"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5415" indent="-234945">
              <a:lnSpc>
                <a:spcPct val="120000"/>
              </a:lnSpc>
              <a:buFont typeface="Arial" panose="020B0604020202020204" pitchFamily="34" charset="0"/>
              <a:buChar char="-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12301" indent="-239178">
              <a:lnSpc>
                <a:spcPct val="120000"/>
              </a:lnSpc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911303" indent="-234945">
              <a:lnSpc>
                <a:spcPct val="120000"/>
              </a:lnSpc>
              <a:buFont typeface="Arial" panose="020B0604020202020204" pitchFamily="34" charset="0"/>
              <a:buChar char="-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391774" indent="-241294">
              <a:lnSpc>
                <a:spcPct val="120000"/>
              </a:lnSpc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00800" y="6356356"/>
            <a:ext cx="2743200" cy="365125"/>
          </a:xfrm>
        </p:spPr>
        <p:txBody>
          <a:bodyPr/>
          <a:lstStyle/>
          <a:p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48000" y="6356356"/>
            <a:ext cx="4114800" cy="365125"/>
          </a:xfrm>
        </p:spPr>
        <p:txBody>
          <a:bodyPr/>
          <a:lstStyle/>
          <a:p>
            <a:pPr algn="l"/>
            <a:endParaRPr lang="en-A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80BD875-15B0-4C47-947A-C357B89EC4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26856" y="1"/>
            <a:ext cx="12149371" cy="1263535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64202526-264E-4621-BB65-3FED4EC85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88902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"/>
            <a:ext cx="2383219" cy="6857999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5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3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815242" y="1137923"/>
            <a:ext cx="276715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9" indent="0">
              <a:buNone/>
              <a:defRPr sz="1349">
                <a:solidFill>
                  <a:schemeClr val="bg1"/>
                </a:solidFill>
              </a:defRPr>
            </a:lvl2pPr>
            <a:lvl3pPr marL="534639" indent="0">
              <a:buNone/>
              <a:defRPr sz="1199">
                <a:solidFill>
                  <a:schemeClr val="bg1"/>
                </a:solidFill>
              </a:defRPr>
            </a:lvl3pPr>
            <a:lvl4pPr marL="801958" indent="0">
              <a:buNone/>
              <a:defRPr sz="1049">
                <a:solidFill>
                  <a:schemeClr val="bg1"/>
                </a:solidFill>
              </a:defRPr>
            </a:lvl4pPr>
            <a:lvl5pPr marL="1069277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C6E24F-B7C3-43FD-BF17-E37070A300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0953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ACB01-FCA5-4FE1-B210-29952B46C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060021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8" y="2851522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CF31FF-92C4-4CFE-89C8-231A1B4903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CADD9D7F-9B4D-4774-AFA3-BCF9232B0532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B72E31-AECD-4259-BF90-99398FE128B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DE2F2A-9E13-4DC5-89FE-0719F2B171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169683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8" y="2851522"/>
            <a:ext cx="4445484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9" marR="0" lvl="0" indent="-267319" defTabSz="755512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824A25-AAE3-42CE-906A-12D97307C1F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732ED48F-3F98-4183-8923-77129A69963B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DD7A84-5352-4432-83C2-4B3F3BD889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5019A7-134D-49ED-8707-807B58B2E5D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22351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9" y="0"/>
            <a:ext cx="5968061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4" y="2578743"/>
            <a:ext cx="4535597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4" y="3840384"/>
            <a:ext cx="4535597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3C557-8F9C-4613-8095-373D3EE8052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93355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1" y="1137922"/>
            <a:ext cx="4954924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152" y="3813288"/>
            <a:ext cx="3087667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152" y="4055931"/>
            <a:ext cx="3087667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2" y="1137922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2" y="1635009"/>
            <a:ext cx="5462580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2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17" name="Picture Placeholder 19">
            <a:extLst>
              <a:ext uri="{FF2B5EF4-FFF2-40B4-BE49-F238E27FC236}">
                <a16:creationId xmlns:a16="http://schemas.microsoft.com/office/drawing/2014/main" id="{70E81591-07D5-438D-AAD4-4B9A889F44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19" y="3578084"/>
            <a:ext cx="10368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3F8B89-1ED7-4BD8-90B0-47F3DF32AD7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11119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">
            <a:extLst>
              <a:ext uri="{FF2B5EF4-FFF2-40B4-BE49-F238E27FC236}">
                <a16:creationId xmlns:a16="http://schemas.microsoft.com/office/drawing/2014/main" id="{54B0064F-CA12-4F8F-B694-23C41AD0F16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F93F004B-02B9-4455-A020-115CFB37BEE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19F4E2CA-BA89-47F8-8C68-7CACFBAF82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0" name="Freeform 7">
              <a:extLst>
                <a:ext uri="{FF2B5EF4-FFF2-40B4-BE49-F238E27FC236}">
                  <a16:creationId xmlns:a16="http://schemas.microsoft.com/office/drawing/2014/main" id="{32993525-96BF-457D-86C8-A5E217C20B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D8973D65-036E-4D65-AAA3-1427C4AA0C9B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E4C5DD-8E03-4FAA-8921-CB640E00BA12}" type="datetime3">
              <a:rPr lang="en-US" smtClean="0"/>
              <a:pPr/>
              <a:t>12 December 2023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9711A3A-DB5C-4C5F-BF5A-7DBDD6EFF60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0A4236-AC64-456A-B3F9-BED4106557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84124" y="6379200"/>
            <a:ext cx="884088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72174554-C49F-4047-81F6-7C7DB6109F57}"/>
              </a:ext>
            </a:extLst>
          </p:cNvPr>
          <p:cNvSpPr>
            <a:spLocks noGrp="1"/>
          </p:cNvSpPr>
          <p:nvPr userDrawn="1"/>
        </p:nvSpPr>
        <p:spPr>
          <a:xfrm>
            <a:off x="609601" y="6613200"/>
            <a:ext cx="9590227" cy="1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800" dirty="0">
                <a:solidFill>
                  <a:schemeClr val="bg1"/>
                </a:solidFill>
              </a:rPr>
              <a:t>Copyright © 2019 Ernst &amp; Young Australia. All Rights Reserved. Liability limited by a scheme approved under Professional Standards Legislation</a:t>
            </a:r>
          </a:p>
        </p:txBody>
      </p:sp>
    </p:spTree>
    <p:extLst>
      <p:ext uri="{BB962C8B-B14F-4D97-AF65-F5344CB8AC3E}">
        <p14:creationId xmlns:p14="http://schemas.microsoft.com/office/powerpoint/2010/main" val="525595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5952" y="6327648"/>
            <a:ext cx="536672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501001" y="1488927"/>
            <a:ext cx="311785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9000" y="2526765"/>
            <a:ext cx="7056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000" y="4632765"/>
            <a:ext cx="7056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9000" y="4971442"/>
            <a:ext cx="7056000" cy="316838"/>
          </a:xfrm>
        </p:spPr>
        <p:txBody>
          <a:bodyPr lIns="90000" tIns="46800" rIns="90000" bIns="4680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616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09667CEE-F273-4416-9D45-A0E825F14911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D43F5A26-EE33-4654-ACA2-880B36B275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25D6EF1-9951-4386-9E98-24FDBF5827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72CC147-C47E-4B17-9D76-D39D3C36CE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26F6358-668D-4C2D-80CC-23FEDA1B8EFC}"/>
              </a:ext>
            </a:extLst>
          </p:cNvPr>
          <p:cNvSpPr>
            <a:spLocks noGrp="1"/>
          </p:cNvSpPr>
          <p:nvPr userDrawn="1"/>
        </p:nvSpPr>
        <p:spPr>
          <a:xfrm>
            <a:off x="609601" y="6613200"/>
            <a:ext cx="9590227" cy="1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800" dirty="0">
                <a:solidFill>
                  <a:schemeClr val="bg1"/>
                </a:solidFill>
              </a:rPr>
              <a:t>Copyright © 2019 Ernst &amp; Young Australia. All Rights Reserved. Liability limited by a scheme approved under Professional Standards Legislation</a:t>
            </a:r>
          </a:p>
        </p:txBody>
      </p:sp>
    </p:spTree>
    <p:extLst>
      <p:ext uri="{BB962C8B-B14F-4D97-AF65-F5344CB8AC3E}">
        <p14:creationId xmlns:p14="http://schemas.microsoft.com/office/powerpoint/2010/main" val="5523552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568000" y="2060235"/>
            <a:ext cx="7056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16" lvl="0" indent="-356616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568000" y="5516838"/>
            <a:ext cx="7056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68000" y="5828877"/>
            <a:ext cx="7056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616" lvl="0" indent="-356616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4537075" y="979788"/>
            <a:ext cx="311785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  <p:grpSp>
        <p:nvGrpSpPr>
          <p:cNvPr id="9" name="Group 4">
            <a:extLst>
              <a:ext uri="{FF2B5EF4-FFF2-40B4-BE49-F238E27FC236}">
                <a16:creationId xmlns:a16="http://schemas.microsoft.com/office/drawing/2014/main" id="{FF60CB08-2DD7-4911-8D80-BCAC7944540B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C7E6D8E8-E311-4EB7-AFAA-50963EA7B1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3EFA7D4-C8AD-4C58-A0EE-C2B700393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E459CDB2-C2F0-4E1A-AC90-F93C856AA5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0006567-7E59-4035-80FF-D8533179D8EC}"/>
              </a:ext>
            </a:extLst>
          </p:cNvPr>
          <p:cNvSpPr>
            <a:spLocks noGrp="1"/>
          </p:cNvSpPr>
          <p:nvPr userDrawn="1"/>
        </p:nvSpPr>
        <p:spPr>
          <a:xfrm>
            <a:off x="609601" y="6613200"/>
            <a:ext cx="9590227" cy="1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800" dirty="0">
                <a:solidFill>
                  <a:schemeClr val="bg1"/>
                </a:solidFill>
              </a:rPr>
              <a:t>Copyright © 2019 Ernst &amp; Young Australia. All Rights Reserved. Liability limited by a scheme approved under Professional Standards Legislation</a:t>
            </a:r>
          </a:p>
        </p:txBody>
      </p:sp>
    </p:spTree>
    <p:extLst>
      <p:ext uri="{BB962C8B-B14F-4D97-AF65-F5344CB8AC3E}">
        <p14:creationId xmlns:p14="http://schemas.microsoft.com/office/powerpoint/2010/main" val="26203965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9">
              <a:defRPr>
                <a:solidFill>
                  <a:schemeClr val="bg1"/>
                </a:solidFill>
              </a:defRPr>
            </a:lvl2pPr>
            <a:lvl3pPr marL="534639">
              <a:defRPr>
                <a:solidFill>
                  <a:schemeClr val="bg1"/>
                </a:solidFill>
              </a:defRPr>
            </a:lvl3pPr>
            <a:lvl4pPr marL="801958">
              <a:defRPr>
                <a:solidFill>
                  <a:schemeClr val="bg1"/>
                </a:solidFill>
              </a:defRPr>
            </a:lvl4pPr>
            <a:lvl5pPr marL="1069277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682A11-B39D-4FE0-A53D-0F1661DE05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27749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26856" y="5"/>
            <a:ext cx="12149371" cy="126353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825625"/>
            <a:ext cx="5376000" cy="4351339"/>
          </a:xfrm>
        </p:spPr>
        <p:txBody>
          <a:bodyPr>
            <a:noAutofit/>
          </a:bodyPr>
          <a:lstStyle>
            <a:lvl1pPr marL="239178" indent="-239178"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5415" indent="-234945">
              <a:lnSpc>
                <a:spcPct val="120000"/>
              </a:lnSpc>
              <a:buFont typeface="Arial" panose="020B0604020202020204" pitchFamily="34" charset="0"/>
              <a:buChar char="-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20000"/>
              </a:lnSpc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911303" indent="-234945">
              <a:lnSpc>
                <a:spcPct val="120000"/>
              </a:lnSpc>
              <a:buFont typeface="Arial" panose="020B0604020202020204" pitchFamily="34" charset="0"/>
              <a:buChar char="-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391774" indent="-241294">
              <a:lnSpc>
                <a:spcPct val="120000"/>
              </a:lnSpc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800" y="1825625"/>
            <a:ext cx="5376000" cy="4351339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5415" indent="-234945">
              <a:lnSpc>
                <a:spcPct val="120000"/>
              </a:lnSpc>
              <a:buFont typeface="Arial" panose="020B0604020202020204" pitchFamily="34" charset="0"/>
              <a:buChar char="-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12301" indent="-239178">
              <a:lnSpc>
                <a:spcPct val="120000"/>
              </a:lnSpc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911303" indent="-234945">
              <a:lnSpc>
                <a:spcPct val="120000"/>
              </a:lnSpc>
              <a:buFont typeface="Arial" panose="020B0604020202020204" pitchFamily="34" charset="0"/>
              <a:buChar char="-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391774" indent="-241294">
              <a:lnSpc>
                <a:spcPct val="120000"/>
              </a:lnSpc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AU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CD65DA2-EAE1-4A30-9097-F95F3A492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771043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3DAEA1-6A90-4FC2-97C7-E8CE039143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35C1A2B2-412B-49EA-99B0-067813210617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B819100-2154-4CEF-A4AE-869A87331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B93803-CB8A-4830-8E96-5C407868A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74723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8340A57-5875-43E6-BEEA-8CEBCDCA30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92603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2"/>
            <a:ext cx="53904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2"/>
            <a:ext cx="53904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349" noProof="0" dirty="0">
              <a:solidFill>
                <a:schemeClr val="bg1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77DB56-43F3-4932-8420-FA767EBAB47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935342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B7547C-9236-44B2-927D-EE1C7DF06D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05D0B1AC-0B8C-40CC-9B36-B9B2DB76B79B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E2AC0F-F4F4-46F1-8E38-470CA2132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B301A4-CE65-4914-B017-DED28C25B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527302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3A9D79-13D5-4189-B325-32C1E30071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87C6314C-751B-4148-8198-F20956044432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690CD3-106E-4E37-A338-7D12BDB87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97AA2E-8C14-46B6-80A1-837B7775D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38721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813CB0-F911-4F63-ADF4-31E748E46E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D005AA61-9193-44AF-B668-28B8BC11A486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E00D68-E42E-4E18-97BC-09F3CC3C71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09C18C-4659-4936-9B48-47D916992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618588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F7CA26-2B7B-4622-93A8-93EC10CCBE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FB3F5D69-F807-4D09-B66E-06AAE28FCE57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E24E25-AADE-42B5-BB07-A8C5FC7FB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9B93A4-EF49-4605-8E7D-22AB1304F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647947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8AD78-6C49-405F-80BD-8F5F9CFAD7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1E449CCB-2F74-4AE7-9D2F-AB617BC2C6DE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3A6C55-F277-42AF-8500-E16F039B9A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68E36-B58F-4FD6-B92E-04754A1D8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76626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480A10-F3A8-4482-9A96-E4A2985059D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2523068" y="6379200"/>
            <a:ext cx="1588344" cy="180000"/>
          </a:xfrm>
          <a:prstGeom prst="rect">
            <a:avLst/>
          </a:prstGeom>
        </p:spPr>
        <p:txBody>
          <a:bodyPr/>
          <a:lstStyle/>
          <a:p>
            <a:fld id="{116756D8-28B7-4B79-8118-E321541624B0}" type="datetime3">
              <a:rPr lang="en-US" smtClean="0"/>
              <a:t>12 December 2023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942338-84D5-44C7-ADEC-04C9C56CF23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428748" y="6379200"/>
            <a:ext cx="4114800" cy="180000"/>
          </a:xfrm>
          <a:prstGeom prst="rect">
            <a:avLst/>
          </a:prstGeom>
        </p:spPr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FAC4917-7B6B-475D-AAE6-8F714438F25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227771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3568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26856" y="5"/>
            <a:ext cx="12149371" cy="126353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824000"/>
            <a:ext cx="5376000" cy="82391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67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 b="1"/>
            </a:lvl2pPr>
            <a:lvl3pPr marL="1219108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5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2649600"/>
            <a:ext cx="5376000" cy="3542400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5415" indent="-234945">
              <a:lnSpc>
                <a:spcPct val="120000"/>
              </a:lnSpc>
              <a:buFont typeface="Arial" panose="020B0604020202020204" pitchFamily="34" charset="0"/>
              <a:buChar char="-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20000"/>
              </a:lnSpc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92773" indent="-239178">
              <a:lnSpc>
                <a:spcPct val="120000"/>
              </a:lnSpc>
              <a:buFont typeface="Arial" panose="020B0604020202020204" pitchFamily="34" charset="0"/>
              <a:buChar char="-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742995" indent="-304778">
              <a:lnSpc>
                <a:spcPct val="120000"/>
              </a:lnSpc>
              <a:buFont typeface="Arial" panose="020B0604020202020204" pitchFamily="34" charset="0"/>
              <a:buChar char="»"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8" y="1824000"/>
            <a:ext cx="5376000" cy="823912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67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 b="1"/>
            </a:lvl2pPr>
            <a:lvl3pPr marL="1219108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5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8" y="2649600"/>
            <a:ext cx="5376000" cy="3542400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5415" indent="-234945">
              <a:lnSpc>
                <a:spcPct val="120000"/>
              </a:lnSpc>
              <a:buFont typeface="Arial" panose="020B0604020202020204" pitchFamily="34" charset="0"/>
              <a:buChar char="-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12301" indent="-239178">
              <a:lnSpc>
                <a:spcPct val="120000"/>
              </a:lnSpc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034066" indent="-241294">
              <a:lnSpc>
                <a:spcPct val="120000"/>
              </a:lnSpc>
              <a:buFont typeface="Arial" panose="020B0604020202020204" pitchFamily="34" charset="0"/>
              <a:buChar char="-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742995" indent="-304778">
              <a:lnSpc>
                <a:spcPct val="120000"/>
              </a:lnSpc>
              <a:buFont typeface="Arial" panose="020B0604020202020204" pitchFamily="34" charset="0"/>
              <a:buChar char="»"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AC4DFB8-DA9B-4A4C-A1FF-5FFAEF44F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CA7F363-05C0-46DE-9964-9A36E1959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CED25ED6-922E-4E76-AB27-81AD056AFA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306513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97991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79064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381485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E0E858-C2A1-4BF4-8F0D-450AEB20A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83331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E0E858-C2A1-4BF4-8F0D-450AEB20A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D62B4F-0792-4151-98F1-07A8F491BD8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AU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626739" y="457199"/>
            <a:ext cx="6009412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1000159" y="1677507"/>
            <a:ext cx="5419932" cy="8604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AU" dirty="0"/>
              <a:t>Use Panels to hold statements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00159" y="2685128"/>
            <a:ext cx="5419932" cy="64574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DDC0064C-A43A-423F-AE9A-BC9494387B3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80651" y="5340350"/>
            <a:ext cx="1316567" cy="1157288"/>
            <a:chOff x="4857" y="3364"/>
            <a:chExt cx="622" cy="729"/>
          </a:xfrm>
        </p:grpSpPr>
        <p:sp>
          <p:nvSpPr>
            <p:cNvPr id="9" name="AutoShape 3">
              <a:extLst>
                <a:ext uri="{FF2B5EF4-FFF2-40B4-BE49-F238E27FC236}">
                  <a16:creationId xmlns:a16="http://schemas.microsoft.com/office/drawing/2014/main" id="{D78B6478-A2C2-478C-81CD-4F6FFD812B7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4857" y="3364"/>
              <a:ext cx="622" cy="7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8B753A7D-A0ED-4506-AF94-1108733775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57" y="3364"/>
              <a:ext cx="498" cy="182"/>
            </a:xfrm>
            <a:custGeom>
              <a:avLst/>
              <a:gdLst>
                <a:gd name="T0" fmla="*/ 2491 w 2491"/>
                <a:gd name="T1" fmla="*/ 0 h 910"/>
                <a:gd name="T2" fmla="*/ 0 w 2491"/>
                <a:gd name="T3" fmla="*/ 910 h 910"/>
                <a:gd name="T4" fmla="*/ 2491 w 2491"/>
                <a:gd name="T5" fmla="*/ 469 h 910"/>
                <a:gd name="T6" fmla="*/ 2491 w 2491"/>
                <a:gd name="T7" fmla="*/ 0 h 9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91" h="910">
                  <a:moveTo>
                    <a:pt x="2491" y="0"/>
                  </a:moveTo>
                  <a:lnTo>
                    <a:pt x="0" y="910"/>
                  </a:lnTo>
                  <a:lnTo>
                    <a:pt x="2491" y="469"/>
                  </a:lnTo>
                  <a:lnTo>
                    <a:pt x="2491" y="0"/>
                  </a:lnTo>
                  <a:close/>
                </a:path>
              </a:pathLst>
            </a:custGeom>
            <a:solidFill>
              <a:srgbClr val="FEE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1C8A885C-1D84-4D39-8A96-2FDB52ADC07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57" y="3622"/>
              <a:ext cx="622" cy="471"/>
            </a:xfrm>
            <a:custGeom>
              <a:avLst/>
              <a:gdLst>
                <a:gd name="T0" fmla="*/ 235 w 3110"/>
                <a:gd name="T1" fmla="*/ 1600 h 2357"/>
                <a:gd name="T2" fmla="*/ 255 w 3110"/>
                <a:gd name="T3" fmla="*/ 1809 h 2357"/>
                <a:gd name="T4" fmla="*/ 152 w 3110"/>
                <a:gd name="T5" fmla="*/ 1823 h 2357"/>
                <a:gd name="T6" fmla="*/ 353 w 3110"/>
                <a:gd name="T7" fmla="*/ 1774 h 2357"/>
                <a:gd name="T8" fmla="*/ 419 w 3110"/>
                <a:gd name="T9" fmla="*/ 1871 h 2357"/>
                <a:gd name="T10" fmla="*/ 1148 w 3110"/>
                <a:gd name="T11" fmla="*/ 1664 h 2357"/>
                <a:gd name="T12" fmla="*/ 1225 w 3110"/>
                <a:gd name="T13" fmla="*/ 1751 h 2357"/>
                <a:gd name="T14" fmla="*/ 701 w 3110"/>
                <a:gd name="T15" fmla="*/ 1558 h 2357"/>
                <a:gd name="T16" fmla="*/ 744 w 3110"/>
                <a:gd name="T17" fmla="*/ 1723 h 2357"/>
                <a:gd name="T18" fmla="*/ 866 w 3110"/>
                <a:gd name="T19" fmla="*/ 1868 h 2357"/>
                <a:gd name="T20" fmla="*/ 838 w 3110"/>
                <a:gd name="T21" fmla="*/ 1696 h 2357"/>
                <a:gd name="T22" fmla="*/ 2035 w 3110"/>
                <a:gd name="T23" fmla="*/ 1874 h 2357"/>
                <a:gd name="T24" fmla="*/ 2173 w 3110"/>
                <a:gd name="T25" fmla="*/ 1760 h 2357"/>
                <a:gd name="T26" fmla="*/ 2115 w 3110"/>
                <a:gd name="T27" fmla="*/ 1743 h 2357"/>
                <a:gd name="T28" fmla="*/ 2074 w 3110"/>
                <a:gd name="T29" fmla="*/ 1696 h 2357"/>
                <a:gd name="T30" fmla="*/ 1318 w 3110"/>
                <a:gd name="T31" fmla="*/ 1748 h 2357"/>
                <a:gd name="T32" fmla="*/ 1455 w 3110"/>
                <a:gd name="T33" fmla="*/ 1858 h 2357"/>
                <a:gd name="T34" fmla="*/ 1484 w 3110"/>
                <a:gd name="T35" fmla="*/ 1938 h 2357"/>
                <a:gd name="T36" fmla="*/ 1378 w 3110"/>
                <a:gd name="T37" fmla="*/ 1794 h 2357"/>
                <a:gd name="T38" fmla="*/ 1740 w 3110"/>
                <a:gd name="T39" fmla="*/ 1690 h 2357"/>
                <a:gd name="T40" fmla="*/ 1644 w 3110"/>
                <a:gd name="T41" fmla="*/ 1791 h 2357"/>
                <a:gd name="T42" fmla="*/ 1835 w 3110"/>
                <a:gd name="T43" fmla="*/ 1723 h 2357"/>
                <a:gd name="T44" fmla="*/ 1698 w 3110"/>
                <a:gd name="T45" fmla="*/ 1800 h 2357"/>
                <a:gd name="T46" fmla="*/ 1721 w 3110"/>
                <a:gd name="T47" fmla="*/ 1831 h 2357"/>
                <a:gd name="T48" fmla="*/ 2256 w 3110"/>
                <a:gd name="T49" fmla="*/ 1780 h 2357"/>
                <a:gd name="T50" fmla="*/ 2243 w 3110"/>
                <a:gd name="T51" fmla="*/ 1665 h 2357"/>
                <a:gd name="T52" fmla="*/ 2306 w 3110"/>
                <a:gd name="T53" fmla="*/ 1880 h 2357"/>
                <a:gd name="T54" fmla="*/ 2338 w 3110"/>
                <a:gd name="T55" fmla="*/ 1722 h 2357"/>
                <a:gd name="T56" fmla="*/ 2929 w 3110"/>
                <a:gd name="T57" fmla="*/ 1763 h 2357"/>
                <a:gd name="T58" fmla="*/ 2750 w 3110"/>
                <a:gd name="T59" fmla="*/ 1695 h 2357"/>
                <a:gd name="T60" fmla="*/ 2872 w 3110"/>
                <a:gd name="T61" fmla="*/ 1874 h 2357"/>
                <a:gd name="T62" fmla="*/ 2658 w 3110"/>
                <a:gd name="T63" fmla="*/ 1797 h 2357"/>
                <a:gd name="T64" fmla="*/ 2623 w 3110"/>
                <a:gd name="T65" fmla="*/ 1867 h 2357"/>
                <a:gd name="T66" fmla="*/ 2482 w 3110"/>
                <a:gd name="T67" fmla="*/ 1876 h 2357"/>
                <a:gd name="T68" fmla="*/ 2513 w 3110"/>
                <a:gd name="T69" fmla="*/ 1825 h 2357"/>
                <a:gd name="T70" fmla="*/ 3019 w 3110"/>
                <a:gd name="T71" fmla="*/ 1651 h 2357"/>
                <a:gd name="T72" fmla="*/ 981 w 3110"/>
                <a:gd name="T73" fmla="*/ 1874 h 2357"/>
                <a:gd name="T74" fmla="*/ 2433 w 3110"/>
                <a:gd name="T75" fmla="*/ 2085 h 2357"/>
                <a:gd name="T76" fmla="*/ 2528 w 3110"/>
                <a:gd name="T77" fmla="*/ 2268 h 2357"/>
                <a:gd name="T78" fmla="*/ 2503 w 3110"/>
                <a:gd name="T79" fmla="*/ 2090 h 2357"/>
                <a:gd name="T80" fmla="*/ 631 w 3110"/>
                <a:gd name="T81" fmla="*/ 2093 h 2357"/>
                <a:gd name="T82" fmla="*/ 677 w 3110"/>
                <a:gd name="T83" fmla="*/ 2105 h 2357"/>
                <a:gd name="T84" fmla="*/ 203 w 3110"/>
                <a:gd name="T85" fmla="*/ 2151 h 2357"/>
                <a:gd name="T86" fmla="*/ 312 w 3110"/>
                <a:gd name="T87" fmla="*/ 2190 h 2357"/>
                <a:gd name="T88" fmla="*/ 507 w 3110"/>
                <a:gd name="T89" fmla="*/ 2190 h 2357"/>
                <a:gd name="T90" fmla="*/ 377 w 3110"/>
                <a:gd name="T91" fmla="*/ 2201 h 2357"/>
                <a:gd name="T92" fmla="*/ 442 w 3110"/>
                <a:gd name="T93" fmla="*/ 2201 h 2357"/>
                <a:gd name="T94" fmla="*/ 2213 w 3110"/>
                <a:gd name="T95" fmla="*/ 2056 h 2357"/>
                <a:gd name="T96" fmla="*/ 1608 w 3110"/>
                <a:gd name="T97" fmla="*/ 2042 h 2357"/>
                <a:gd name="T98" fmla="*/ 1951 w 3110"/>
                <a:gd name="T99" fmla="*/ 2062 h 2357"/>
                <a:gd name="T100" fmla="*/ 2016 w 3110"/>
                <a:gd name="T101" fmla="*/ 2271 h 2357"/>
                <a:gd name="T102" fmla="*/ 2075 w 3110"/>
                <a:gd name="T103" fmla="*/ 2057 h 2357"/>
                <a:gd name="T104" fmla="*/ 2016 w 3110"/>
                <a:gd name="T105" fmla="*/ 2089 h 2357"/>
                <a:gd name="T106" fmla="*/ 772 w 3110"/>
                <a:gd name="T107" fmla="*/ 1949 h 2357"/>
                <a:gd name="T108" fmla="*/ 1210 w 3110"/>
                <a:gd name="T109" fmla="*/ 2052 h 2357"/>
                <a:gd name="T110" fmla="*/ 1116 w 3110"/>
                <a:gd name="T111" fmla="*/ 2102 h 2357"/>
                <a:gd name="T112" fmla="*/ 1289 w 3110"/>
                <a:gd name="T113" fmla="*/ 2093 h 2357"/>
                <a:gd name="T114" fmla="*/ 1395 w 3110"/>
                <a:gd name="T115" fmla="*/ 2266 h 2357"/>
                <a:gd name="T116" fmla="*/ 1413 w 3110"/>
                <a:gd name="T117" fmla="*/ 2350 h 2357"/>
                <a:gd name="T118" fmla="*/ 1364 w 3110"/>
                <a:gd name="T119" fmla="*/ 2217 h 2357"/>
                <a:gd name="T120" fmla="*/ 1000 w 3110"/>
                <a:gd name="T121" fmla="*/ 2139 h 2357"/>
                <a:gd name="T122" fmla="*/ 400 w 3110"/>
                <a:gd name="T123" fmla="*/ 970 h 2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0" h="2357">
                  <a:moveTo>
                    <a:pt x="259" y="1777"/>
                  </a:moveTo>
                  <a:lnTo>
                    <a:pt x="259" y="1777"/>
                  </a:lnTo>
                  <a:lnTo>
                    <a:pt x="259" y="1769"/>
                  </a:lnTo>
                  <a:lnTo>
                    <a:pt x="258" y="1762"/>
                  </a:lnTo>
                  <a:lnTo>
                    <a:pt x="255" y="1749"/>
                  </a:lnTo>
                  <a:lnTo>
                    <a:pt x="249" y="1738"/>
                  </a:lnTo>
                  <a:lnTo>
                    <a:pt x="242" y="1729"/>
                  </a:lnTo>
                  <a:lnTo>
                    <a:pt x="235" y="1722"/>
                  </a:lnTo>
                  <a:lnTo>
                    <a:pt x="227" y="1717"/>
                  </a:lnTo>
                  <a:lnTo>
                    <a:pt x="220" y="1712"/>
                  </a:lnTo>
                  <a:lnTo>
                    <a:pt x="213" y="1709"/>
                  </a:lnTo>
                  <a:lnTo>
                    <a:pt x="213" y="1709"/>
                  </a:lnTo>
                  <a:lnTo>
                    <a:pt x="221" y="1703"/>
                  </a:lnTo>
                  <a:lnTo>
                    <a:pt x="228" y="1698"/>
                  </a:lnTo>
                  <a:lnTo>
                    <a:pt x="233" y="1691"/>
                  </a:lnTo>
                  <a:lnTo>
                    <a:pt x="239" y="1683"/>
                  </a:lnTo>
                  <a:lnTo>
                    <a:pt x="243" y="1675"/>
                  </a:lnTo>
                  <a:lnTo>
                    <a:pt x="246" y="1666"/>
                  </a:lnTo>
                  <a:lnTo>
                    <a:pt x="248" y="1658"/>
                  </a:lnTo>
                  <a:lnTo>
                    <a:pt x="248" y="1648"/>
                  </a:lnTo>
                  <a:lnTo>
                    <a:pt x="248" y="1648"/>
                  </a:lnTo>
                  <a:lnTo>
                    <a:pt x="248" y="1639"/>
                  </a:lnTo>
                  <a:lnTo>
                    <a:pt x="247" y="1630"/>
                  </a:lnTo>
                  <a:lnTo>
                    <a:pt x="245" y="1622"/>
                  </a:lnTo>
                  <a:lnTo>
                    <a:pt x="242" y="1614"/>
                  </a:lnTo>
                  <a:lnTo>
                    <a:pt x="239" y="1606"/>
                  </a:lnTo>
                  <a:lnTo>
                    <a:pt x="235" y="1600"/>
                  </a:lnTo>
                  <a:lnTo>
                    <a:pt x="229" y="1594"/>
                  </a:lnTo>
                  <a:lnTo>
                    <a:pt x="223" y="1589"/>
                  </a:lnTo>
                  <a:lnTo>
                    <a:pt x="217" y="1584"/>
                  </a:lnTo>
                  <a:lnTo>
                    <a:pt x="210" y="1580"/>
                  </a:lnTo>
                  <a:lnTo>
                    <a:pt x="202" y="1576"/>
                  </a:lnTo>
                  <a:lnTo>
                    <a:pt x="193" y="1573"/>
                  </a:lnTo>
                  <a:lnTo>
                    <a:pt x="185" y="1571"/>
                  </a:lnTo>
                  <a:lnTo>
                    <a:pt x="175" y="1569"/>
                  </a:lnTo>
                  <a:lnTo>
                    <a:pt x="165" y="1569"/>
                  </a:lnTo>
                  <a:lnTo>
                    <a:pt x="153" y="1568"/>
                  </a:lnTo>
                  <a:lnTo>
                    <a:pt x="22" y="1568"/>
                  </a:lnTo>
                  <a:lnTo>
                    <a:pt x="22" y="1874"/>
                  </a:lnTo>
                  <a:lnTo>
                    <a:pt x="152" y="1874"/>
                  </a:lnTo>
                  <a:lnTo>
                    <a:pt x="152" y="1874"/>
                  </a:lnTo>
                  <a:lnTo>
                    <a:pt x="165" y="1874"/>
                  </a:lnTo>
                  <a:lnTo>
                    <a:pt x="176" y="1873"/>
                  </a:lnTo>
                  <a:lnTo>
                    <a:pt x="187" y="1871"/>
                  </a:lnTo>
                  <a:lnTo>
                    <a:pt x="197" y="1868"/>
                  </a:lnTo>
                  <a:lnTo>
                    <a:pt x="207" y="1864"/>
                  </a:lnTo>
                  <a:lnTo>
                    <a:pt x="216" y="1860"/>
                  </a:lnTo>
                  <a:lnTo>
                    <a:pt x="223" y="1854"/>
                  </a:lnTo>
                  <a:lnTo>
                    <a:pt x="230" y="1849"/>
                  </a:lnTo>
                  <a:lnTo>
                    <a:pt x="237" y="1842"/>
                  </a:lnTo>
                  <a:lnTo>
                    <a:pt x="242" y="1834"/>
                  </a:lnTo>
                  <a:lnTo>
                    <a:pt x="248" y="1827"/>
                  </a:lnTo>
                  <a:lnTo>
                    <a:pt x="251" y="1818"/>
                  </a:lnTo>
                  <a:lnTo>
                    <a:pt x="255" y="1809"/>
                  </a:lnTo>
                  <a:lnTo>
                    <a:pt x="257" y="1799"/>
                  </a:lnTo>
                  <a:lnTo>
                    <a:pt x="258" y="1788"/>
                  </a:lnTo>
                  <a:lnTo>
                    <a:pt x="259" y="1777"/>
                  </a:lnTo>
                  <a:lnTo>
                    <a:pt x="259" y="1777"/>
                  </a:lnTo>
                  <a:close/>
                  <a:moveTo>
                    <a:pt x="152" y="1823"/>
                  </a:moveTo>
                  <a:lnTo>
                    <a:pt x="79" y="1823"/>
                  </a:lnTo>
                  <a:lnTo>
                    <a:pt x="79" y="1735"/>
                  </a:lnTo>
                  <a:lnTo>
                    <a:pt x="152" y="1735"/>
                  </a:lnTo>
                  <a:lnTo>
                    <a:pt x="152" y="1735"/>
                  </a:lnTo>
                  <a:lnTo>
                    <a:pt x="163" y="1737"/>
                  </a:lnTo>
                  <a:lnTo>
                    <a:pt x="172" y="1738"/>
                  </a:lnTo>
                  <a:lnTo>
                    <a:pt x="180" y="1741"/>
                  </a:lnTo>
                  <a:lnTo>
                    <a:pt x="187" y="1747"/>
                  </a:lnTo>
                  <a:lnTo>
                    <a:pt x="192" y="1752"/>
                  </a:lnTo>
                  <a:lnTo>
                    <a:pt x="196" y="1760"/>
                  </a:lnTo>
                  <a:lnTo>
                    <a:pt x="198" y="1769"/>
                  </a:lnTo>
                  <a:lnTo>
                    <a:pt x="199" y="1779"/>
                  </a:lnTo>
                  <a:lnTo>
                    <a:pt x="199" y="1779"/>
                  </a:lnTo>
                  <a:lnTo>
                    <a:pt x="198" y="1789"/>
                  </a:lnTo>
                  <a:lnTo>
                    <a:pt x="196" y="1798"/>
                  </a:lnTo>
                  <a:lnTo>
                    <a:pt x="191" y="1805"/>
                  </a:lnTo>
                  <a:lnTo>
                    <a:pt x="187" y="1811"/>
                  </a:lnTo>
                  <a:lnTo>
                    <a:pt x="180" y="1817"/>
                  </a:lnTo>
                  <a:lnTo>
                    <a:pt x="172" y="1820"/>
                  </a:lnTo>
                  <a:lnTo>
                    <a:pt x="162" y="1822"/>
                  </a:lnTo>
                  <a:lnTo>
                    <a:pt x="152" y="1823"/>
                  </a:lnTo>
                  <a:lnTo>
                    <a:pt x="152" y="1823"/>
                  </a:lnTo>
                  <a:close/>
                  <a:moveTo>
                    <a:pt x="151" y="1685"/>
                  </a:moveTo>
                  <a:lnTo>
                    <a:pt x="79" y="1685"/>
                  </a:lnTo>
                  <a:lnTo>
                    <a:pt x="79" y="1620"/>
                  </a:lnTo>
                  <a:lnTo>
                    <a:pt x="149" y="1620"/>
                  </a:lnTo>
                  <a:lnTo>
                    <a:pt x="149" y="1620"/>
                  </a:lnTo>
                  <a:lnTo>
                    <a:pt x="158" y="1621"/>
                  </a:lnTo>
                  <a:lnTo>
                    <a:pt x="167" y="1622"/>
                  </a:lnTo>
                  <a:lnTo>
                    <a:pt x="173" y="1624"/>
                  </a:lnTo>
                  <a:lnTo>
                    <a:pt x="179" y="1628"/>
                  </a:lnTo>
                  <a:lnTo>
                    <a:pt x="183" y="1633"/>
                  </a:lnTo>
                  <a:lnTo>
                    <a:pt x="187" y="1639"/>
                  </a:lnTo>
                  <a:lnTo>
                    <a:pt x="188" y="1645"/>
                  </a:lnTo>
                  <a:lnTo>
                    <a:pt x="189" y="1653"/>
                  </a:lnTo>
                  <a:lnTo>
                    <a:pt x="189" y="1653"/>
                  </a:lnTo>
                  <a:lnTo>
                    <a:pt x="189" y="1659"/>
                  </a:lnTo>
                  <a:lnTo>
                    <a:pt x="188" y="1664"/>
                  </a:lnTo>
                  <a:lnTo>
                    <a:pt x="186" y="1670"/>
                  </a:lnTo>
                  <a:lnTo>
                    <a:pt x="182" y="1674"/>
                  </a:lnTo>
                  <a:lnTo>
                    <a:pt x="177" y="1679"/>
                  </a:lnTo>
                  <a:lnTo>
                    <a:pt x="170" y="1682"/>
                  </a:lnTo>
                  <a:lnTo>
                    <a:pt x="162" y="1684"/>
                  </a:lnTo>
                  <a:lnTo>
                    <a:pt x="151" y="1685"/>
                  </a:lnTo>
                  <a:lnTo>
                    <a:pt x="151" y="1685"/>
                  </a:lnTo>
                  <a:close/>
                  <a:moveTo>
                    <a:pt x="298" y="1778"/>
                  </a:moveTo>
                  <a:lnTo>
                    <a:pt x="298" y="1651"/>
                  </a:lnTo>
                  <a:lnTo>
                    <a:pt x="353" y="1651"/>
                  </a:lnTo>
                  <a:lnTo>
                    <a:pt x="353" y="1774"/>
                  </a:lnTo>
                  <a:lnTo>
                    <a:pt x="353" y="1774"/>
                  </a:lnTo>
                  <a:lnTo>
                    <a:pt x="353" y="1787"/>
                  </a:lnTo>
                  <a:lnTo>
                    <a:pt x="356" y="1799"/>
                  </a:lnTo>
                  <a:lnTo>
                    <a:pt x="359" y="1808"/>
                  </a:lnTo>
                  <a:lnTo>
                    <a:pt x="363" y="1815"/>
                  </a:lnTo>
                  <a:lnTo>
                    <a:pt x="369" y="1821"/>
                  </a:lnTo>
                  <a:lnTo>
                    <a:pt x="376" y="1825"/>
                  </a:lnTo>
                  <a:lnTo>
                    <a:pt x="385" y="1828"/>
                  </a:lnTo>
                  <a:lnTo>
                    <a:pt x="395" y="1829"/>
                  </a:lnTo>
                  <a:lnTo>
                    <a:pt x="395" y="1829"/>
                  </a:lnTo>
                  <a:lnTo>
                    <a:pt x="405" y="1828"/>
                  </a:lnTo>
                  <a:lnTo>
                    <a:pt x="412" y="1825"/>
                  </a:lnTo>
                  <a:lnTo>
                    <a:pt x="420" y="1821"/>
                  </a:lnTo>
                  <a:lnTo>
                    <a:pt x="426" y="1815"/>
                  </a:lnTo>
                  <a:lnTo>
                    <a:pt x="430" y="1808"/>
                  </a:lnTo>
                  <a:lnTo>
                    <a:pt x="433" y="1798"/>
                  </a:lnTo>
                  <a:lnTo>
                    <a:pt x="436" y="1787"/>
                  </a:lnTo>
                  <a:lnTo>
                    <a:pt x="436" y="1774"/>
                  </a:lnTo>
                  <a:lnTo>
                    <a:pt x="436" y="1651"/>
                  </a:lnTo>
                  <a:lnTo>
                    <a:pt x="491" y="1651"/>
                  </a:lnTo>
                  <a:lnTo>
                    <a:pt x="491" y="1874"/>
                  </a:lnTo>
                  <a:lnTo>
                    <a:pt x="436" y="1874"/>
                  </a:lnTo>
                  <a:lnTo>
                    <a:pt x="436" y="1857"/>
                  </a:lnTo>
                  <a:lnTo>
                    <a:pt x="436" y="1857"/>
                  </a:lnTo>
                  <a:lnTo>
                    <a:pt x="431" y="1862"/>
                  </a:lnTo>
                  <a:lnTo>
                    <a:pt x="425" y="1867"/>
                  </a:lnTo>
                  <a:lnTo>
                    <a:pt x="419" y="1871"/>
                  </a:lnTo>
                  <a:lnTo>
                    <a:pt x="412" y="1873"/>
                  </a:lnTo>
                  <a:lnTo>
                    <a:pt x="406" y="1877"/>
                  </a:lnTo>
                  <a:lnTo>
                    <a:pt x="398" y="1878"/>
                  </a:lnTo>
                  <a:lnTo>
                    <a:pt x="390" y="1879"/>
                  </a:lnTo>
                  <a:lnTo>
                    <a:pt x="382" y="1880"/>
                  </a:lnTo>
                  <a:lnTo>
                    <a:pt x="382" y="1880"/>
                  </a:lnTo>
                  <a:lnTo>
                    <a:pt x="369" y="1879"/>
                  </a:lnTo>
                  <a:lnTo>
                    <a:pt x="358" y="1877"/>
                  </a:lnTo>
                  <a:lnTo>
                    <a:pt x="348" y="1873"/>
                  </a:lnTo>
                  <a:lnTo>
                    <a:pt x="338" y="1869"/>
                  </a:lnTo>
                  <a:lnTo>
                    <a:pt x="330" y="1863"/>
                  </a:lnTo>
                  <a:lnTo>
                    <a:pt x="323" y="1858"/>
                  </a:lnTo>
                  <a:lnTo>
                    <a:pt x="318" y="1850"/>
                  </a:lnTo>
                  <a:lnTo>
                    <a:pt x="312" y="1842"/>
                  </a:lnTo>
                  <a:lnTo>
                    <a:pt x="309" y="1834"/>
                  </a:lnTo>
                  <a:lnTo>
                    <a:pt x="306" y="1827"/>
                  </a:lnTo>
                  <a:lnTo>
                    <a:pt x="301" y="1809"/>
                  </a:lnTo>
                  <a:lnTo>
                    <a:pt x="299" y="1792"/>
                  </a:lnTo>
                  <a:lnTo>
                    <a:pt x="298" y="1778"/>
                  </a:lnTo>
                  <a:lnTo>
                    <a:pt x="298" y="1778"/>
                  </a:lnTo>
                  <a:close/>
                  <a:moveTo>
                    <a:pt x="1143" y="1874"/>
                  </a:moveTo>
                  <a:lnTo>
                    <a:pt x="1087" y="1874"/>
                  </a:lnTo>
                  <a:lnTo>
                    <a:pt x="1087" y="1651"/>
                  </a:lnTo>
                  <a:lnTo>
                    <a:pt x="1143" y="1651"/>
                  </a:lnTo>
                  <a:lnTo>
                    <a:pt x="1143" y="1670"/>
                  </a:lnTo>
                  <a:lnTo>
                    <a:pt x="1143" y="1670"/>
                  </a:lnTo>
                  <a:lnTo>
                    <a:pt x="1148" y="1664"/>
                  </a:lnTo>
                  <a:lnTo>
                    <a:pt x="1154" y="1659"/>
                  </a:lnTo>
                  <a:lnTo>
                    <a:pt x="1160" y="1655"/>
                  </a:lnTo>
                  <a:lnTo>
                    <a:pt x="1167" y="1652"/>
                  </a:lnTo>
                  <a:lnTo>
                    <a:pt x="1175" y="1649"/>
                  </a:lnTo>
                  <a:lnTo>
                    <a:pt x="1182" y="1648"/>
                  </a:lnTo>
                  <a:lnTo>
                    <a:pt x="1190" y="1646"/>
                  </a:lnTo>
                  <a:lnTo>
                    <a:pt x="1198" y="1645"/>
                  </a:lnTo>
                  <a:lnTo>
                    <a:pt x="1198" y="1645"/>
                  </a:lnTo>
                  <a:lnTo>
                    <a:pt x="1208" y="1646"/>
                  </a:lnTo>
                  <a:lnTo>
                    <a:pt x="1217" y="1648"/>
                  </a:lnTo>
                  <a:lnTo>
                    <a:pt x="1226" y="1650"/>
                  </a:lnTo>
                  <a:lnTo>
                    <a:pt x="1234" y="1652"/>
                  </a:lnTo>
                  <a:lnTo>
                    <a:pt x="1242" y="1655"/>
                  </a:lnTo>
                  <a:lnTo>
                    <a:pt x="1248" y="1661"/>
                  </a:lnTo>
                  <a:lnTo>
                    <a:pt x="1254" y="1665"/>
                  </a:lnTo>
                  <a:lnTo>
                    <a:pt x="1259" y="1672"/>
                  </a:lnTo>
                  <a:lnTo>
                    <a:pt x="1265" y="1679"/>
                  </a:lnTo>
                  <a:lnTo>
                    <a:pt x="1268" y="1686"/>
                  </a:lnTo>
                  <a:lnTo>
                    <a:pt x="1273" y="1694"/>
                  </a:lnTo>
                  <a:lnTo>
                    <a:pt x="1275" y="1703"/>
                  </a:lnTo>
                  <a:lnTo>
                    <a:pt x="1277" y="1713"/>
                  </a:lnTo>
                  <a:lnTo>
                    <a:pt x="1279" y="1724"/>
                  </a:lnTo>
                  <a:lnTo>
                    <a:pt x="1280" y="1735"/>
                  </a:lnTo>
                  <a:lnTo>
                    <a:pt x="1280" y="1748"/>
                  </a:lnTo>
                  <a:lnTo>
                    <a:pt x="1280" y="1874"/>
                  </a:lnTo>
                  <a:lnTo>
                    <a:pt x="1225" y="1874"/>
                  </a:lnTo>
                  <a:lnTo>
                    <a:pt x="1225" y="1751"/>
                  </a:lnTo>
                  <a:lnTo>
                    <a:pt x="1225" y="1751"/>
                  </a:lnTo>
                  <a:lnTo>
                    <a:pt x="1225" y="1738"/>
                  </a:lnTo>
                  <a:lnTo>
                    <a:pt x="1223" y="1727"/>
                  </a:lnTo>
                  <a:lnTo>
                    <a:pt x="1219" y="1718"/>
                  </a:lnTo>
                  <a:lnTo>
                    <a:pt x="1215" y="1710"/>
                  </a:lnTo>
                  <a:lnTo>
                    <a:pt x="1209" y="1704"/>
                  </a:lnTo>
                  <a:lnTo>
                    <a:pt x="1203" y="1700"/>
                  </a:lnTo>
                  <a:lnTo>
                    <a:pt x="1195" y="1698"/>
                  </a:lnTo>
                  <a:lnTo>
                    <a:pt x="1185" y="1696"/>
                  </a:lnTo>
                  <a:lnTo>
                    <a:pt x="1185" y="1696"/>
                  </a:lnTo>
                  <a:lnTo>
                    <a:pt x="1175" y="1698"/>
                  </a:lnTo>
                  <a:lnTo>
                    <a:pt x="1166" y="1700"/>
                  </a:lnTo>
                  <a:lnTo>
                    <a:pt x="1159" y="1704"/>
                  </a:lnTo>
                  <a:lnTo>
                    <a:pt x="1154" y="1710"/>
                  </a:lnTo>
                  <a:lnTo>
                    <a:pt x="1148" y="1718"/>
                  </a:lnTo>
                  <a:lnTo>
                    <a:pt x="1145" y="1728"/>
                  </a:lnTo>
                  <a:lnTo>
                    <a:pt x="1143" y="1739"/>
                  </a:lnTo>
                  <a:lnTo>
                    <a:pt x="1143" y="1751"/>
                  </a:lnTo>
                  <a:lnTo>
                    <a:pt x="1143" y="1874"/>
                  </a:lnTo>
                  <a:close/>
                  <a:moveTo>
                    <a:pt x="597" y="1755"/>
                  </a:moveTo>
                  <a:lnTo>
                    <a:pt x="597" y="1874"/>
                  </a:lnTo>
                  <a:lnTo>
                    <a:pt x="541" y="1874"/>
                  </a:lnTo>
                  <a:lnTo>
                    <a:pt x="541" y="1651"/>
                  </a:lnTo>
                  <a:lnTo>
                    <a:pt x="597" y="1651"/>
                  </a:lnTo>
                  <a:lnTo>
                    <a:pt x="597" y="1755"/>
                  </a:lnTo>
                  <a:close/>
                  <a:moveTo>
                    <a:pt x="646" y="1585"/>
                  </a:moveTo>
                  <a:lnTo>
                    <a:pt x="701" y="1558"/>
                  </a:lnTo>
                  <a:lnTo>
                    <a:pt x="701" y="1760"/>
                  </a:lnTo>
                  <a:lnTo>
                    <a:pt x="701" y="1874"/>
                  </a:lnTo>
                  <a:lnTo>
                    <a:pt x="646" y="1874"/>
                  </a:lnTo>
                  <a:lnTo>
                    <a:pt x="646" y="1585"/>
                  </a:lnTo>
                  <a:close/>
                  <a:moveTo>
                    <a:pt x="877" y="1666"/>
                  </a:moveTo>
                  <a:lnTo>
                    <a:pt x="877" y="1666"/>
                  </a:lnTo>
                  <a:lnTo>
                    <a:pt x="873" y="1661"/>
                  </a:lnTo>
                  <a:lnTo>
                    <a:pt x="867" y="1658"/>
                  </a:lnTo>
                  <a:lnTo>
                    <a:pt x="860" y="1653"/>
                  </a:lnTo>
                  <a:lnTo>
                    <a:pt x="855" y="1651"/>
                  </a:lnTo>
                  <a:lnTo>
                    <a:pt x="848" y="1649"/>
                  </a:lnTo>
                  <a:lnTo>
                    <a:pt x="841" y="1646"/>
                  </a:lnTo>
                  <a:lnTo>
                    <a:pt x="828" y="1645"/>
                  </a:lnTo>
                  <a:lnTo>
                    <a:pt x="828" y="1645"/>
                  </a:lnTo>
                  <a:lnTo>
                    <a:pt x="818" y="1646"/>
                  </a:lnTo>
                  <a:lnTo>
                    <a:pt x="808" y="1648"/>
                  </a:lnTo>
                  <a:lnTo>
                    <a:pt x="799" y="1650"/>
                  </a:lnTo>
                  <a:lnTo>
                    <a:pt x="791" y="1653"/>
                  </a:lnTo>
                  <a:lnTo>
                    <a:pt x="784" y="1658"/>
                  </a:lnTo>
                  <a:lnTo>
                    <a:pt x="776" y="1663"/>
                  </a:lnTo>
                  <a:lnTo>
                    <a:pt x="769" y="1670"/>
                  </a:lnTo>
                  <a:lnTo>
                    <a:pt x="764" y="1676"/>
                  </a:lnTo>
                  <a:lnTo>
                    <a:pt x="758" y="1684"/>
                  </a:lnTo>
                  <a:lnTo>
                    <a:pt x="754" y="1693"/>
                  </a:lnTo>
                  <a:lnTo>
                    <a:pt x="749" y="1702"/>
                  </a:lnTo>
                  <a:lnTo>
                    <a:pt x="746" y="1712"/>
                  </a:lnTo>
                  <a:lnTo>
                    <a:pt x="744" y="1723"/>
                  </a:lnTo>
                  <a:lnTo>
                    <a:pt x="741" y="1735"/>
                  </a:lnTo>
                  <a:lnTo>
                    <a:pt x="740" y="1748"/>
                  </a:lnTo>
                  <a:lnTo>
                    <a:pt x="740" y="1760"/>
                  </a:lnTo>
                  <a:lnTo>
                    <a:pt x="740" y="1760"/>
                  </a:lnTo>
                  <a:lnTo>
                    <a:pt x="740" y="1774"/>
                  </a:lnTo>
                  <a:lnTo>
                    <a:pt x="741" y="1787"/>
                  </a:lnTo>
                  <a:lnTo>
                    <a:pt x="744" y="1799"/>
                  </a:lnTo>
                  <a:lnTo>
                    <a:pt x="746" y="1810"/>
                  </a:lnTo>
                  <a:lnTo>
                    <a:pt x="749" y="1821"/>
                  </a:lnTo>
                  <a:lnTo>
                    <a:pt x="752" y="1831"/>
                  </a:lnTo>
                  <a:lnTo>
                    <a:pt x="757" y="1840"/>
                  </a:lnTo>
                  <a:lnTo>
                    <a:pt x="762" y="1848"/>
                  </a:lnTo>
                  <a:lnTo>
                    <a:pt x="769" y="1856"/>
                  </a:lnTo>
                  <a:lnTo>
                    <a:pt x="775" y="1861"/>
                  </a:lnTo>
                  <a:lnTo>
                    <a:pt x="783" y="1867"/>
                  </a:lnTo>
                  <a:lnTo>
                    <a:pt x="790" y="1871"/>
                  </a:lnTo>
                  <a:lnTo>
                    <a:pt x="798" y="1874"/>
                  </a:lnTo>
                  <a:lnTo>
                    <a:pt x="807" y="1878"/>
                  </a:lnTo>
                  <a:lnTo>
                    <a:pt x="817" y="1879"/>
                  </a:lnTo>
                  <a:lnTo>
                    <a:pt x="827" y="1880"/>
                  </a:lnTo>
                  <a:lnTo>
                    <a:pt x="827" y="1880"/>
                  </a:lnTo>
                  <a:lnTo>
                    <a:pt x="834" y="1879"/>
                  </a:lnTo>
                  <a:lnTo>
                    <a:pt x="840" y="1878"/>
                  </a:lnTo>
                  <a:lnTo>
                    <a:pt x="847" y="1877"/>
                  </a:lnTo>
                  <a:lnTo>
                    <a:pt x="854" y="1874"/>
                  </a:lnTo>
                  <a:lnTo>
                    <a:pt x="859" y="1871"/>
                  </a:lnTo>
                  <a:lnTo>
                    <a:pt x="866" y="1868"/>
                  </a:lnTo>
                  <a:lnTo>
                    <a:pt x="871" y="1863"/>
                  </a:lnTo>
                  <a:lnTo>
                    <a:pt x="877" y="1858"/>
                  </a:lnTo>
                  <a:lnTo>
                    <a:pt x="877" y="1874"/>
                  </a:lnTo>
                  <a:lnTo>
                    <a:pt x="933" y="1874"/>
                  </a:lnTo>
                  <a:lnTo>
                    <a:pt x="933" y="1558"/>
                  </a:lnTo>
                  <a:lnTo>
                    <a:pt x="877" y="1585"/>
                  </a:lnTo>
                  <a:lnTo>
                    <a:pt x="877" y="1666"/>
                  </a:lnTo>
                  <a:close/>
                  <a:moveTo>
                    <a:pt x="838" y="1829"/>
                  </a:moveTo>
                  <a:lnTo>
                    <a:pt x="838" y="1829"/>
                  </a:lnTo>
                  <a:lnTo>
                    <a:pt x="831" y="1828"/>
                  </a:lnTo>
                  <a:lnTo>
                    <a:pt x="824" y="1825"/>
                  </a:lnTo>
                  <a:lnTo>
                    <a:pt x="817" y="1822"/>
                  </a:lnTo>
                  <a:lnTo>
                    <a:pt x="810" y="1815"/>
                  </a:lnTo>
                  <a:lnTo>
                    <a:pt x="805" y="1807"/>
                  </a:lnTo>
                  <a:lnTo>
                    <a:pt x="800" y="1794"/>
                  </a:lnTo>
                  <a:lnTo>
                    <a:pt x="797" y="1779"/>
                  </a:lnTo>
                  <a:lnTo>
                    <a:pt x="796" y="1759"/>
                  </a:lnTo>
                  <a:lnTo>
                    <a:pt x="796" y="1759"/>
                  </a:lnTo>
                  <a:lnTo>
                    <a:pt x="797" y="1741"/>
                  </a:lnTo>
                  <a:lnTo>
                    <a:pt x="800" y="1728"/>
                  </a:lnTo>
                  <a:lnTo>
                    <a:pt x="805" y="1717"/>
                  </a:lnTo>
                  <a:lnTo>
                    <a:pt x="810" y="1709"/>
                  </a:lnTo>
                  <a:lnTo>
                    <a:pt x="816" y="1702"/>
                  </a:lnTo>
                  <a:lnTo>
                    <a:pt x="824" y="1699"/>
                  </a:lnTo>
                  <a:lnTo>
                    <a:pt x="830" y="1696"/>
                  </a:lnTo>
                  <a:lnTo>
                    <a:pt x="838" y="1696"/>
                  </a:lnTo>
                  <a:lnTo>
                    <a:pt x="838" y="1696"/>
                  </a:lnTo>
                  <a:lnTo>
                    <a:pt x="845" y="1696"/>
                  </a:lnTo>
                  <a:lnTo>
                    <a:pt x="851" y="1699"/>
                  </a:lnTo>
                  <a:lnTo>
                    <a:pt x="858" y="1701"/>
                  </a:lnTo>
                  <a:lnTo>
                    <a:pt x="863" y="1704"/>
                  </a:lnTo>
                  <a:lnTo>
                    <a:pt x="867" y="1708"/>
                  </a:lnTo>
                  <a:lnTo>
                    <a:pt x="871" y="1711"/>
                  </a:lnTo>
                  <a:lnTo>
                    <a:pt x="877" y="1719"/>
                  </a:lnTo>
                  <a:lnTo>
                    <a:pt x="877" y="1807"/>
                  </a:lnTo>
                  <a:lnTo>
                    <a:pt x="877" y="1807"/>
                  </a:lnTo>
                  <a:lnTo>
                    <a:pt x="870" y="1814"/>
                  </a:lnTo>
                  <a:lnTo>
                    <a:pt x="863" y="1821"/>
                  </a:lnTo>
                  <a:lnTo>
                    <a:pt x="858" y="1824"/>
                  </a:lnTo>
                  <a:lnTo>
                    <a:pt x="851" y="1827"/>
                  </a:lnTo>
                  <a:lnTo>
                    <a:pt x="846" y="1828"/>
                  </a:lnTo>
                  <a:lnTo>
                    <a:pt x="838" y="1829"/>
                  </a:lnTo>
                  <a:lnTo>
                    <a:pt x="838" y="1829"/>
                  </a:lnTo>
                  <a:close/>
                  <a:moveTo>
                    <a:pt x="2084" y="1645"/>
                  </a:moveTo>
                  <a:lnTo>
                    <a:pt x="2084" y="1645"/>
                  </a:lnTo>
                  <a:lnTo>
                    <a:pt x="2079" y="1646"/>
                  </a:lnTo>
                  <a:lnTo>
                    <a:pt x="2072" y="1648"/>
                  </a:lnTo>
                  <a:lnTo>
                    <a:pt x="2059" y="1651"/>
                  </a:lnTo>
                  <a:lnTo>
                    <a:pt x="2046" y="1658"/>
                  </a:lnTo>
                  <a:lnTo>
                    <a:pt x="2035" y="1666"/>
                  </a:lnTo>
                  <a:lnTo>
                    <a:pt x="2035" y="1563"/>
                  </a:lnTo>
                  <a:lnTo>
                    <a:pt x="1980" y="1591"/>
                  </a:lnTo>
                  <a:lnTo>
                    <a:pt x="1980" y="1874"/>
                  </a:lnTo>
                  <a:lnTo>
                    <a:pt x="2035" y="1874"/>
                  </a:lnTo>
                  <a:lnTo>
                    <a:pt x="2035" y="1858"/>
                  </a:lnTo>
                  <a:lnTo>
                    <a:pt x="2035" y="1858"/>
                  </a:lnTo>
                  <a:lnTo>
                    <a:pt x="2040" y="1863"/>
                  </a:lnTo>
                  <a:lnTo>
                    <a:pt x="2046" y="1868"/>
                  </a:lnTo>
                  <a:lnTo>
                    <a:pt x="2052" y="1871"/>
                  </a:lnTo>
                  <a:lnTo>
                    <a:pt x="2059" y="1874"/>
                  </a:lnTo>
                  <a:lnTo>
                    <a:pt x="2064" y="1877"/>
                  </a:lnTo>
                  <a:lnTo>
                    <a:pt x="2072" y="1878"/>
                  </a:lnTo>
                  <a:lnTo>
                    <a:pt x="2079" y="1879"/>
                  </a:lnTo>
                  <a:lnTo>
                    <a:pt x="2085" y="1880"/>
                  </a:lnTo>
                  <a:lnTo>
                    <a:pt x="2085" y="1880"/>
                  </a:lnTo>
                  <a:lnTo>
                    <a:pt x="2095" y="1879"/>
                  </a:lnTo>
                  <a:lnTo>
                    <a:pt x="2105" y="1878"/>
                  </a:lnTo>
                  <a:lnTo>
                    <a:pt x="2114" y="1876"/>
                  </a:lnTo>
                  <a:lnTo>
                    <a:pt x="2123" y="1871"/>
                  </a:lnTo>
                  <a:lnTo>
                    <a:pt x="2131" y="1867"/>
                  </a:lnTo>
                  <a:lnTo>
                    <a:pt x="2137" y="1862"/>
                  </a:lnTo>
                  <a:lnTo>
                    <a:pt x="2144" y="1856"/>
                  </a:lnTo>
                  <a:lnTo>
                    <a:pt x="2150" y="1849"/>
                  </a:lnTo>
                  <a:lnTo>
                    <a:pt x="2155" y="1840"/>
                  </a:lnTo>
                  <a:lnTo>
                    <a:pt x="2160" y="1831"/>
                  </a:lnTo>
                  <a:lnTo>
                    <a:pt x="2163" y="1821"/>
                  </a:lnTo>
                  <a:lnTo>
                    <a:pt x="2166" y="1811"/>
                  </a:lnTo>
                  <a:lnTo>
                    <a:pt x="2170" y="1800"/>
                  </a:lnTo>
                  <a:lnTo>
                    <a:pt x="2171" y="1788"/>
                  </a:lnTo>
                  <a:lnTo>
                    <a:pt x="2172" y="1774"/>
                  </a:lnTo>
                  <a:lnTo>
                    <a:pt x="2173" y="1760"/>
                  </a:lnTo>
                  <a:lnTo>
                    <a:pt x="2173" y="1760"/>
                  </a:lnTo>
                  <a:lnTo>
                    <a:pt x="2172" y="1748"/>
                  </a:lnTo>
                  <a:lnTo>
                    <a:pt x="2171" y="1735"/>
                  </a:lnTo>
                  <a:lnTo>
                    <a:pt x="2169" y="1723"/>
                  </a:lnTo>
                  <a:lnTo>
                    <a:pt x="2166" y="1712"/>
                  </a:lnTo>
                  <a:lnTo>
                    <a:pt x="2163" y="1702"/>
                  </a:lnTo>
                  <a:lnTo>
                    <a:pt x="2159" y="1693"/>
                  </a:lnTo>
                  <a:lnTo>
                    <a:pt x="2154" y="1684"/>
                  </a:lnTo>
                  <a:lnTo>
                    <a:pt x="2149" y="1676"/>
                  </a:lnTo>
                  <a:lnTo>
                    <a:pt x="2143" y="1670"/>
                  </a:lnTo>
                  <a:lnTo>
                    <a:pt x="2136" y="1663"/>
                  </a:lnTo>
                  <a:lnTo>
                    <a:pt x="2129" y="1658"/>
                  </a:lnTo>
                  <a:lnTo>
                    <a:pt x="2121" y="1653"/>
                  </a:lnTo>
                  <a:lnTo>
                    <a:pt x="2113" y="1650"/>
                  </a:lnTo>
                  <a:lnTo>
                    <a:pt x="2104" y="1648"/>
                  </a:lnTo>
                  <a:lnTo>
                    <a:pt x="2094" y="1646"/>
                  </a:lnTo>
                  <a:lnTo>
                    <a:pt x="2084" y="1645"/>
                  </a:lnTo>
                  <a:lnTo>
                    <a:pt x="2084" y="1645"/>
                  </a:lnTo>
                  <a:close/>
                  <a:moveTo>
                    <a:pt x="2074" y="1696"/>
                  </a:moveTo>
                  <a:lnTo>
                    <a:pt x="2074" y="1696"/>
                  </a:lnTo>
                  <a:lnTo>
                    <a:pt x="2082" y="1698"/>
                  </a:lnTo>
                  <a:lnTo>
                    <a:pt x="2090" y="1700"/>
                  </a:lnTo>
                  <a:lnTo>
                    <a:pt x="2096" y="1704"/>
                  </a:lnTo>
                  <a:lnTo>
                    <a:pt x="2103" y="1711"/>
                  </a:lnTo>
                  <a:lnTo>
                    <a:pt x="2109" y="1719"/>
                  </a:lnTo>
                  <a:lnTo>
                    <a:pt x="2112" y="1730"/>
                  </a:lnTo>
                  <a:lnTo>
                    <a:pt x="2115" y="1743"/>
                  </a:lnTo>
                  <a:lnTo>
                    <a:pt x="2116" y="1759"/>
                  </a:lnTo>
                  <a:lnTo>
                    <a:pt x="2116" y="1759"/>
                  </a:lnTo>
                  <a:lnTo>
                    <a:pt x="2115" y="1775"/>
                  </a:lnTo>
                  <a:lnTo>
                    <a:pt x="2113" y="1790"/>
                  </a:lnTo>
                  <a:lnTo>
                    <a:pt x="2111" y="1801"/>
                  </a:lnTo>
                  <a:lnTo>
                    <a:pt x="2106" y="1811"/>
                  </a:lnTo>
                  <a:lnTo>
                    <a:pt x="2100" y="1819"/>
                  </a:lnTo>
                  <a:lnTo>
                    <a:pt x="2093" y="1824"/>
                  </a:lnTo>
                  <a:lnTo>
                    <a:pt x="2085" y="1828"/>
                  </a:lnTo>
                  <a:lnTo>
                    <a:pt x="2075" y="1829"/>
                  </a:lnTo>
                  <a:lnTo>
                    <a:pt x="2075" y="1829"/>
                  </a:lnTo>
                  <a:lnTo>
                    <a:pt x="2067" y="1828"/>
                  </a:lnTo>
                  <a:lnTo>
                    <a:pt x="2061" y="1827"/>
                  </a:lnTo>
                  <a:lnTo>
                    <a:pt x="2055" y="1823"/>
                  </a:lnTo>
                  <a:lnTo>
                    <a:pt x="2050" y="1821"/>
                  </a:lnTo>
                  <a:lnTo>
                    <a:pt x="2041" y="1813"/>
                  </a:lnTo>
                  <a:lnTo>
                    <a:pt x="2035" y="1808"/>
                  </a:lnTo>
                  <a:lnTo>
                    <a:pt x="2035" y="1719"/>
                  </a:lnTo>
                  <a:lnTo>
                    <a:pt x="2035" y="1719"/>
                  </a:lnTo>
                  <a:lnTo>
                    <a:pt x="2039" y="1714"/>
                  </a:lnTo>
                  <a:lnTo>
                    <a:pt x="2043" y="1710"/>
                  </a:lnTo>
                  <a:lnTo>
                    <a:pt x="2047" y="1705"/>
                  </a:lnTo>
                  <a:lnTo>
                    <a:pt x="2052" y="1702"/>
                  </a:lnTo>
                  <a:lnTo>
                    <a:pt x="2057" y="1700"/>
                  </a:lnTo>
                  <a:lnTo>
                    <a:pt x="2063" y="1698"/>
                  </a:lnTo>
                  <a:lnTo>
                    <a:pt x="2069" y="1696"/>
                  </a:lnTo>
                  <a:lnTo>
                    <a:pt x="2074" y="1696"/>
                  </a:lnTo>
                  <a:lnTo>
                    <a:pt x="2074" y="1696"/>
                  </a:lnTo>
                  <a:close/>
                  <a:moveTo>
                    <a:pt x="1455" y="1666"/>
                  </a:moveTo>
                  <a:lnTo>
                    <a:pt x="1455" y="1666"/>
                  </a:lnTo>
                  <a:lnTo>
                    <a:pt x="1451" y="1662"/>
                  </a:lnTo>
                  <a:lnTo>
                    <a:pt x="1445" y="1658"/>
                  </a:lnTo>
                  <a:lnTo>
                    <a:pt x="1438" y="1654"/>
                  </a:lnTo>
                  <a:lnTo>
                    <a:pt x="1433" y="1651"/>
                  </a:lnTo>
                  <a:lnTo>
                    <a:pt x="1426" y="1649"/>
                  </a:lnTo>
                  <a:lnTo>
                    <a:pt x="1419" y="1646"/>
                  </a:lnTo>
                  <a:lnTo>
                    <a:pt x="1413" y="1646"/>
                  </a:lnTo>
                  <a:lnTo>
                    <a:pt x="1406" y="1645"/>
                  </a:lnTo>
                  <a:lnTo>
                    <a:pt x="1406" y="1645"/>
                  </a:lnTo>
                  <a:lnTo>
                    <a:pt x="1396" y="1646"/>
                  </a:lnTo>
                  <a:lnTo>
                    <a:pt x="1386" y="1648"/>
                  </a:lnTo>
                  <a:lnTo>
                    <a:pt x="1377" y="1650"/>
                  </a:lnTo>
                  <a:lnTo>
                    <a:pt x="1369" y="1653"/>
                  </a:lnTo>
                  <a:lnTo>
                    <a:pt x="1362" y="1658"/>
                  </a:lnTo>
                  <a:lnTo>
                    <a:pt x="1354" y="1663"/>
                  </a:lnTo>
                  <a:lnTo>
                    <a:pt x="1347" y="1670"/>
                  </a:lnTo>
                  <a:lnTo>
                    <a:pt x="1342" y="1676"/>
                  </a:lnTo>
                  <a:lnTo>
                    <a:pt x="1336" y="1684"/>
                  </a:lnTo>
                  <a:lnTo>
                    <a:pt x="1332" y="1693"/>
                  </a:lnTo>
                  <a:lnTo>
                    <a:pt x="1327" y="1702"/>
                  </a:lnTo>
                  <a:lnTo>
                    <a:pt x="1324" y="1712"/>
                  </a:lnTo>
                  <a:lnTo>
                    <a:pt x="1322" y="1723"/>
                  </a:lnTo>
                  <a:lnTo>
                    <a:pt x="1319" y="1735"/>
                  </a:lnTo>
                  <a:lnTo>
                    <a:pt x="1318" y="1748"/>
                  </a:lnTo>
                  <a:lnTo>
                    <a:pt x="1318" y="1760"/>
                  </a:lnTo>
                  <a:lnTo>
                    <a:pt x="1318" y="1760"/>
                  </a:lnTo>
                  <a:lnTo>
                    <a:pt x="1318" y="1774"/>
                  </a:lnTo>
                  <a:lnTo>
                    <a:pt x="1319" y="1787"/>
                  </a:lnTo>
                  <a:lnTo>
                    <a:pt x="1322" y="1799"/>
                  </a:lnTo>
                  <a:lnTo>
                    <a:pt x="1324" y="1810"/>
                  </a:lnTo>
                  <a:lnTo>
                    <a:pt x="1327" y="1821"/>
                  </a:lnTo>
                  <a:lnTo>
                    <a:pt x="1330" y="1831"/>
                  </a:lnTo>
                  <a:lnTo>
                    <a:pt x="1336" y="1840"/>
                  </a:lnTo>
                  <a:lnTo>
                    <a:pt x="1340" y="1848"/>
                  </a:lnTo>
                  <a:lnTo>
                    <a:pt x="1347" y="1856"/>
                  </a:lnTo>
                  <a:lnTo>
                    <a:pt x="1353" y="1861"/>
                  </a:lnTo>
                  <a:lnTo>
                    <a:pt x="1360" y="1867"/>
                  </a:lnTo>
                  <a:lnTo>
                    <a:pt x="1368" y="1871"/>
                  </a:lnTo>
                  <a:lnTo>
                    <a:pt x="1376" y="1874"/>
                  </a:lnTo>
                  <a:lnTo>
                    <a:pt x="1385" y="1878"/>
                  </a:lnTo>
                  <a:lnTo>
                    <a:pt x="1395" y="1879"/>
                  </a:lnTo>
                  <a:lnTo>
                    <a:pt x="1405" y="1879"/>
                  </a:lnTo>
                  <a:lnTo>
                    <a:pt x="1405" y="1879"/>
                  </a:lnTo>
                  <a:lnTo>
                    <a:pt x="1412" y="1879"/>
                  </a:lnTo>
                  <a:lnTo>
                    <a:pt x="1418" y="1878"/>
                  </a:lnTo>
                  <a:lnTo>
                    <a:pt x="1425" y="1877"/>
                  </a:lnTo>
                  <a:lnTo>
                    <a:pt x="1432" y="1874"/>
                  </a:lnTo>
                  <a:lnTo>
                    <a:pt x="1438" y="1871"/>
                  </a:lnTo>
                  <a:lnTo>
                    <a:pt x="1444" y="1867"/>
                  </a:lnTo>
                  <a:lnTo>
                    <a:pt x="1449" y="1863"/>
                  </a:lnTo>
                  <a:lnTo>
                    <a:pt x="1455" y="1858"/>
                  </a:lnTo>
                  <a:lnTo>
                    <a:pt x="1455" y="1863"/>
                  </a:lnTo>
                  <a:lnTo>
                    <a:pt x="1455" y="1863"/>
                  </a:lnTo>
                  <a:lnTo>
                    <a:pt x="1455" y="1872"/>
                  </a:lnTo>
                  <a:lnTo>
                    <a:pt x="1454" y="1882"/>
                  </a:lnTo>
                  <a:lnTo>
                    <a:pt x="1452" y="1892"/>
                  </a:lnTo>
                  <a:lnTo>
                    <a:pt x="1449" y="1897"/>
                  </a:lnTo>
                  <a:lnTo>
                    <a:pt x="1446" y="1901"/>
                  </a:lnTo>
                  <a:lnTo>
                    <a:pt x="1443" y="1906"/>
                  </a:lnTo>
                  <a:lnTo>
                    <a:pt x="1438" y="1910"/>
                  </a:lnTo>
                  <a:lnTo>
                    <a:pt x="1432" y="1913"/>
                  </a:lnTo>
                  <a:lnTo>
                    <a:pt x="1425" y="1916"/>
                  </a:lnTo>
                  <a:lnTo>
                    <a:pt x="1417" y="1919"/>
                  </a:lnTo>
                  <a:lnTo>
                    <a:pt x="1407" y="1920"/>
                  </a:lnTo>
                  <a:lnTo>
                    <a:pt x="1396" y="1922"/>
                  </a:lnTo>
                  <a:lnTo>
                    <a:pt x="1384" y="1922"/>
                  </a:lnTo>
                  <a:lnTo>
                    <a:pt x="1382" y="1922"/>
                  </a:lnTo>
                  <a:lnTo>
                    <a:pt x="1401" y="1966"/>
                  </a:lnTo>
                  <a:lnTo>
                    <a:pt x="1402" y="1966"/>
                  </a:lnTo>
                  <a:lnTo>
                    <a:pt x="1402" y="1966"/>
                  </a:lnTo>
                  <a:lnTo>
                    <a:pt x="1415" y="1966"/>
                  </a:lnTo>
                  <a:lnTo>
                    <a:pt x="1427" y="1963"/>
                  </a:lnTo>
                  <a:lnTo>
                    <a:pt x="1439" y="1961"/>
                  </a:lnTo>
                  <a:lnTo>
                    <a:pt x="1449" y="1958"/>
                  </a:lnTo>
                  <a:lnTo>
                    <a:pt x="1459" y="1954"/>
                  </a:lnTo>
                  <a:lnTo>
                    <a:pt x="1468" y="1950"/>
                  </a:lnTo>
                  <a:lnTo>
                    <a:pt x="1476" y="1943"/>
                  </a:lnTo>
                  <a:lnTo>
                    <a:pt x="1484" y="1938"/>
                  </a:lnTo>
                  <a:lnTo>
                    <a:pt x="1491" y="1930"/>
                  </a:lnTo>
                  <a:lnTo>
                    <a:pt x="1495" y="1921"/>
                  </a:lnTo>
                  <a:lnTo>
                    <a:pt x="1501" y="1912"/>
                  </a:lnTo>
                  <a:lnTo>
                    <a:pt x="1504" y="1902"/>
                  </a:lnTo>
                  <a:lnTo>
                    <a:pt x="1507" y="1891"/>
                  </a:lnTo>
                  <a:lnTo>
                    <a:pt x="1509" y="1880"/>
                  </a:lnTo>
                  <a:lnTo>
                    <a:pt x="1511" y="1868"/>
                  </a:lnTo>
                  <a:lnTo>
                    <a:pt x="1511" y="1853"/>
                  </a:lnTo>
                  <a:lnTo>
                    <a:pt x="1511" y="1651"/>
                  </a:lnTo>
                  <a:lnTo>
                    <a:pt x="1455" y="1651"/>
                  </a:lnTo>
                  <a:lnTo>
                    <a:pt x="1455" y="1666"/>
                  </a:lnTo>
                  <a:close/>
                  <a:moveTo>
                    <a:pt x="1455" y="1719"/>
                  </a:moveTo>
                  <a:lnTo>
                    <a:pt x="1455" y="1807"/>
                  </a:lnTo>
                  <a:lnTo>
                    <a:pt x="1455" y="1807"/>
                  </a:lnTo>
                  <a:lnTo>
                    <a:pt x="1448" y="1814"/>
                  </a:lnTo>
                  <a:lnTo>
                    <a:pt x="1439" y="1822"/>
                  </a:lnTo>
                  <a:lnTo>
                    <a:pt x="1435" y="1824"/>
                  </a:lnTo>
                  <a:lnTo>
                    <a:pt x="1429" y="1827"/>
                  </a:lnTo>
                  <a:lnTo>
                    <a:pt x="1423" y="1828"/>
                  </a:lnTo>
                  <a:lnTo>
                    <a:pt x="1416" y="1829"/>
                  </a:lnTo>
                  <a:lnTo>
                    <a:pt x="1416" y="1829"/>
                  </a:lnTo>
                  <a:lnTo>
                    <a:pt x="1408" y="1828"/>
                  </a:lnTo>
                  <a:lnTo>
                    <a:pt x="1402" y="1825"/>
                  </a:lnTo>
                  <a:lnTo>
                    <a:pt x="1394" y="1821"/>
                  </a:lnTo>
                  <a:lnTo>
                    <a:pt x="1388" y="1815"/>
                  </a:lnTo>
                  <a:lnTo>
                    <a:pt x="1383" y="1807"/>
                  </a:lnTo>
                  <a:lnTo>
                    <a:pt x="1378" y="1794"/>
                  </a:lnTo>
                  <a:lnTo>
                    <a:pt x="1375" y="1779"/>
                  </a:lnTo>
                  <a:lnTo>
                    <a:pt x="1374" y="1759"/>
                  </a:lnTo>
                  <a:lnTo>
                    <a:pt x="1374" y="1759"/>
                  </a:lnTo>
                  <a:lnTo>
                    <a:pt x="1375" y="1741"/>
                  </a:lnTo>
                  <a:lnTo>
                    <a:pt x="1378" y="1728"/>
                  </a:lnTo>
                  <a:lnTo>
                    <a:pt x="1383" y="1717"/>
                  </a:lnTo>
                  <a:lnTo>
                    <a:pt x="1388" y="1709"/>
                  </a:lnTo>
                  <a:lnTo>
                    <a:pt x="1394" y="1702"/>
                  </a:lnTo>
                  <a:lnTo>
                    <a:pt x="1402" y="1699"/>
                  </a:lnTo>
                  <a:lnTo>
                    <a:pt x="1408" y="1696"/>
                  </a:lnTo>
                  <a:lnTo>
                    <a:pt x="1416" y="1696"/>
                  </a:lnTo>
                  <a:lnTo>
                    <a:pt x="1416" y="1696"/>
                  </a:lnTo>
                  <a:lnTo>
                    <a:pt x="1423" y="1696"/>
                  </a:lnTo>
                  <a:lnTo>
                    <a:pt x="1429" y="1699"/>
                  </a:lnTo>
                  <a:lnTo>
                    <a:pt x="1436" y="1701"/>
                  </a:lnTo>
                  <a:lnTo>
                    <a:pt x="1441" y="1703"/>
                  </a:lnTo>
                  <a:lnTo>
                    <a:pt x="1445" y="1708"/>
                  </a:lnTo>
                  <a:lnTo>
                    <a:pt x="1449" y="1711"/>
                  </a:lnTo>
                  <a:lnTo>
                    <a:pt x="1455" y="1719"/>
                  </a:lnTo>
                  <a:lnTo>
                    <a:pt x="1455" y="1719"/>
                  </a:lnTo>
                  <a:close/>
                  <a:moveTo>
                    <a:pt x="1683" y="1705"/>
                  </a:moveTo>
                  <a:lnTo>
                    <a:pt x="1683" y="1705"/>
                  </a:lnTo>
                  <a:lnTo>
                    <a:pt x="1696" y="1699"/>
                  </a:lnTo>
                  <a:lnTo>
                    <a:pt x="1709" y="1694"/>
                  </a:lnTo>
                  <a:lnTo>
                    <a:pt x="1724" y="1691"/>
                  </a:lnTo>
                  <a:lnTo>
                    <a:pt x="1740" y="1690"/>
                  </a:lnTo>
                  <a:lnTo>
                    <a:pt x="1740" y="1690"/>
                  </a:lnTo>
                  <a:lnTo>
                    <a:pt x="1750" y="1691"/>
                  </a:lnTo>
                  <a:lnTo>
                    <a:pt x="1757" y="1692"/>
                  </a:lnTo>
                  <a:lnTo>
                    <a:pt x="1764" y="1694"/>
                  </a:lnTo>
                  <a:lnTo>
                    <a:pt x="1770" y="1699"/>
                  </a:lnTo>
                  <a:lnTo>
                    <a:pt x="1774" y="1703"/>
                  </a:lnTo>
                  <a:lnTo>
                    <a:pt x="1777" y="1709"/>
                  </a:lnTo>
                  <a:lnTo>
                    <a:pt x="1780" y="1714"/>
                  </a:lnTo>
                  <a:lnTo>
                    <a:pt x="1780" y="1722"/>
                  </a:lnTo>
                  <a:lnTo>
                    <a:pt x="1780" y="1738"/>
                  </a:lnTo>
                  <a:lnTo>
                    <a:pt x="1780" y="1738"/>
                  </a:lnTo>
                  <a:lnTo>
                    <a:pt x="1770" y="1733"/>
                  </a:lnTo>
                  <a:lnTo>
                    <a:pt x="1757" y="1730"/>
                  </a:lnTo>
                  <a:lnTo>
                    <a:pt x="1745" y="1728"/>
                  </a:lnTo>
                  <a:lnTo>
                    <a:pt x="1732" y="1727"/>
                  </a:lnTo>
                  <a:lnTo>
                    <a:pt x="1732" y="1727"/>
                  </a:lnTo>
                  <a:lnTo>
                    <a:pt x="1716" y="1728"/>
                  </a:lnTo>
                  <a:lnTo>
                    <a:pt x="1701" y="1731"/>
                  </a:lnTo>
                  <a:lnTo>
                    <a:pt x="1686" y="1735"/>
                  </a:lnTo>
                  <a:lnTo>
                    <a:pt x="1678" y="1739"/>
                  </a:lnTo>
                  <a:lnTo>
                    <a:pt x="1672" y="1743"/>
                  </a:lnTo>
                  <a:lnTo>
                    <a:pt x="1666" y="1748"/>
                  </a:lnTo>
                  <a:lnTo>
                    <a:pt x="1661" y="1753"/>
                  </a:lnTo>
                  <a:lnTo>
                    <a:pt x="1655" y="1759"/>
                  </a:lnTo>
                  <a:lnTo>
                    <a:pt x="1651" y="1765"/>
                  </a:lnTo>
                  <a:lnTo>
                    <a:pt x="1647" y="1773"/>
                  </a:lnTo>
                  <a:lnTo>
                    <a:pt x="1645" y="1782"/>
                  </a:lnTo>
                  <a:lnTo>
                    <a:pt x="1644" y="1791"/>
                  </a:lnTo>
                  <a:lnTo>
                    <a:pt x="1643" y="1800"/>
                  </a:lnTo>
                  <a:lnTo>
                    <a:pt x="1643" y="1800"/>
                  </a:lnTo>
                  <a:lnTo>
                    <a:pt x="1644" y="1811"/>
                  </a:lnTo>
                  <a:lnTo>
                    <a:pt x="1645" y="1821"/>
                  </a:lnTo>
                  <a:lnTo>
                    <a:pt x="1647" y="1829"/>
                  </a:lnTo>
                  <a:lnTo>
                    <a:pt x="1651" y="1838"/>
                  </a:lnTo>
                  <a:lnTo>
                    <a:pt x="1654" y="1844"/>
                  </a:lnTo>
                  <a:lnTo>
                    <a:pt x="1659" y="1851"/>
                  </a:lnTo>
                  <a:lnTo>
                    <a:pt x="1664" y="1857"/>
                  </a:lnTo>
                  <a:lnTo>
                    <a:pt x="1671" y="1862"/>
                  </a:lnTo>
                  <a:lnTo>
                    <a:pt x="1676" y="1867"/>
                  </a:lnTo>
                  <a:lnTo>
                    <a:pt x="1683" y="1870"/>
                  </a:lnTo>
                  <a:lnTo>
                    <a:pt x="1697" y="1876"/>
                  </a:lnTo>
                  <a:lnTo>
                    <a:pt x="1712" y="1879"/>
                  </a:lnTo>
                  <a:lnTo>
                    <a:pt x="1726" y="1880"/>
                  </a:lnTo>
                  <a:lnTo>
                    <a:pt x="1726" y="1880"/>
                  </a:lnTo>
                  <a:lnTo>
                    <a:pt x="1738" y="1878"/>
                  </a:lnTo>
                  <a:lnTo>
                    <a:pt x="1746" y="1877"/>
                  </a:lnTo>
                  <a:lnTo>
                    <a:pt x="1753" y="1874"/>
                  </a:lnTo>
                  <a:lnTo>
                    <a:pt x="1761" y="1871"/>
                  </a:lnTo>
                  <a:lnTo>
                    <a:pt x="1767" y="1867"/>
                  </a:lnTo>
                  <a:lnTo>
                    <a:pt x="1774" y="1862"/>
                  </a:lnTo>
                  <a:lnTo>
                    <a:pt x="1780" y="1857"/>
                  </a:lnTo>
                  <a:lnTo>
                    <a:pt x="1780" y="1874"/>
                  </a:lnTo>
                  <a:lnTo>
                    <a:pt x="1835" y="1874"/>
                  </a:lnTo>
                  <a:lnTo>
                    <a:pt x="1835" y="1723"/>
                  </a:lnTo>
                  <a:lnTo>
                    <a:pt x="1835" y="1723"/>
                  </a:lnTo>
                  <a:lnTo>
                    <a:pt x="1835" y="1714"/>
                  </a:lnTo>
                  <a:lnTo>
                    <a:pt x="1834" y="1707"/>
                  </a:lnTo>
                  <a:lnTo>
                    <a:pt x="1832" y="1699"/>
                  </a:lnTo>
                  <a:lnTo>
                    <a:pt x="1830" y="1691"/>
                  </a:lnTo>
                  <a:lnTo>
                    <a:pt x="1825" y="1684"/>
                  </a:lnTo>
                  <a:lnTo>
                    <a:pt x="1822" y="1678"/>
                  </a:lnTo>
                  <a:lnTo>
                    <a:pt x="1816" y="1672"/>
                  </a:lnTo>
                  <a:lnTo>
                    <a:pt x="1811" y="1666"/>
                  </a:lnTo>
                  <a:lnTo>
                    <a:pt x="1805" y="1662"/>
                  </a:lnTo>
                  <a:lnTo>
                    <a:pt x="1798" y="1658"/>
                  </a:lnTo>
                  <a:lnTo>
                    <a:pt x="1791" y="1654"/>
                  </a:lnTo>
                  <a:lnTo>
                    <a:pt x="1783" y="1651"/>
                  </a:lnTo>
                  <a:lnTo>
                    <a:pt x="1774" y="1649"/>
                  </a:lnTo>
                  <a:lnTo>
                    <a:pt x="1765" y="1648"/>
                  </a:lnTo>
                  <a:lnTo>
                    <a:pt x="1755" y="1646"/>
                  </a:lnTo>
                  <a:lnTo>
                    <a:pt x="1745" y="1645"/>
                  </a:lnTo>
                  <a:lnTo>
                    <a:pt x="1745" y="1645"/>
                  </a:lnTo>
                  <a:lnTo>
                    <a:pt x="1733" y="1646"/>
                  </a:lnTo>
                  <a:lnTo>
                    <a:pt x="1723" y="1646"/>
                  </a:lnTo>
                  <a:lnTo>
                    <a:pt x="1712" y="1649"/>
                  </a:lnTo>
                  <a:lnTo>
                    <a:pt x="1701" y="1651"/>
                  </a:lnTo>
                  <a:lnTo>
                    <a:pt x="1691" y="1654"/>
                  </a:lnTo>
                  <a:lnTo>
                    <a:pt x="1681" y="1658"/>
                  </a:lnTo>
                  <a:lnTo>
                    <a:pt x="1671" y="1662"/>
                  </a:lnTo>
                  <a:lnTo>
                    <a:pt x="1661" y="1668"/>
                  </a:lnTo>
                  <a:lnTo>
                    <a:pt x="1683" y="1705"/>
                  </a:lnTo>
                  <a:close/>
                  <a:moveTo>
                    <a:pt x="1698" y="1800"/>
                  </a:moveTo>
                  <a:lnTo>
                    <a:pt x="1698" y="1800"/>
                  </a:lnTo>
                  <a:lnTo>
                    <a:pt x="1698" y="1793"/>
                  </a:lnTo>
                  <a:lnTo>
                    <a:pt x="1701" y="1787"/>
                  </a:lnTo>
                  <a:lnTo>
                    <a:pt x="1704" y="1781"/>
                  </a:lnTo>
                  <a:lnTo>
                    <a:pt x="1708" y="1777"/>
                  </a:lnTo>
                  <a:lnTo>
                    <a:pt x="1714" y="1773"/>
                  </a:lnTo>
                  <a:lnTo>
                    <a:pt x="1721" y="1771"/>
                  </a:lnTo>
                  <a:lnTo>
                    <a:pt x="1728" y="1769"/>
                  </a:lnTo>
                  <a:lnTo>
                    <a:pt x="1736" y="1769"/>
                  </a:lnTo>
                  <a:lnTo>
                    <a:pt x="1736" y="1769"/>
                  </a:lnTo>
                  <a:lnTo>
                    <a:pt x="1748" y="1769"/>
                  </a:lnTo>
                  <a:lnTo>
                    <a:pt x="1760" y="1771"/>
                  </a:lnTo>
                  <a:lnTo>
                    <a:pt x="1770" y="1774"/>
                  </a:lnTo>
                  <a:lnTo>
                    <a:pt x="1780" y="1780"/>
                  </a:lnTo>
                  <a:lnTo>
                    <a:pt x="1780" y="1810"/>
                  </a:lnTo>
                  <a:lnTo>
                    <a:pt x="1780" y="1810"/>
                  </a:lnTo>
                  <a:lnTo>
                    <a:pt x="1777" y="1814"/>
                  </a:lnTo>
                  <a:lnTo>
                    <a:pt x="1773" y="1819"/>
                  </a:lnTo>
                  <a:lnTo>
                    <a:pt x="1768" y="1823"/>
                  </a:lnTo>
                  <a:lnTo>
                    <a:pt x="1763" y="1827"/>
                  </a:lnTo>
                  <a:lnTo>
                    <a:pt x="1757" y="1830"/>
                  </a:lnTo>
                  <a:lnTo>
                    <a:pt x="1751" y="1832"/>
                  </a:lnTo>
                  <a:lnTo>
                    <a:pt x="1744" y="1833"/>
                  </a:lnTo>
                  <a:lnTo>
                    <a:pt x="1736" y="1834"/>
                  </a:lnTo>
                  <a:lnTo>
                    <a:pt x="1736" y="1834"/>
                  </a:lnTo>
                  <a:lnTo>
                    <a:pt x="1728" y="1833"/>
                  </a:lnTo>
                  <a:lnTo>
                    <a:pt x="1721" y="1831"/>
                  </a:lnTo>
                  <a:lnTo>
                    <a:pt x="1714" y="1829"/>
                  </a:lnTo>
                  <a:lnTo>
                    <a:pt x="1708" y="1824"/>
                  </a:lnTo>
                  <a:lnTo>
                    <a:pt x="1704" y="1820"/>
                  </a:lnTo>
                  <a:lnTo>
                    <a:pt x="1701" y="1814"/>
                  </a:lnTo>
                  <a:lnTo>
                    <a:pt x="1699" y="1808"/>
                  </a:lnTo>
                  <a:lnTo>
                    <a:pt x="1698" y="1800"/>
                  </a:lnTo>
                  <a:lnTo>
                    <a:pt x="1698" y="1800"/>
                  </a:lnTo>
                  <a:close/>
                  <a:moveTo>
                    <a:pt x="2350" y="1810"/>
                  </a:moveTo>
                  <a:lnTo>
                    <a:pt x="2350" y="1810"/>
                  </a:lnTo>
                  <a:lnTo>
                    <a:pt x="2342" y="1817"/>
                  </a:lnTo>
                  <a:lnTo>
                    <a:pt x="2332" y="1822"/>
                  </a:lnTo>
                  <a:lnTo>
                    <a:pt x="2326" y="1824"/>
                  </a:lnTo>
                  <a:lnTo>
                    <a:pt x="2320" y="1827"/>
                  </a:lnTo>
                  <a:lnTo>
                    <a:pt x="2313" y="1828"/>
                  </a:lnTo>
                  <a:lnTo>
                    <a:pt x="2306" y="1829"/>
                  </a:lnTo>
                  <a:lnTo>
                    <a:pt x="2306" y="1829"/>
                  </a:lnTo>
                  <a:lnTo>
                    <a:pt x="2301" y="1828"/>
                  </a:lnTo>
                  <a:lnTo>
                    <a:pt x="2294" y="1828"/>
                  </a:lnTo>
                  <a:lnTo>
                    <a:pt x="2286" y="1825"/>
                  </a:lnTo>
                  <a:lnTo>
                    <a:pt x="2277" y="1821"/>
                  </a:lnTo>
                  <a:lnTo>
                    <a:pt x="2270" y="1815"/>
                  </a:lnTo>
                  <a:lnTo>
                    <a:pt x="2266" y="1811"/>
                  </a:lnTo>
                  <a:lnTo>
                    <a:pt x="2263" y="1807"/>
                  </a:lnTo>
                  <a:lnTo>
                    <a:pt x="2261" y="1801"/>
                  </a:lnTo>
                  <a:lnTo>
                    <a:pt x="2259" y="1794"/>
                  </a:lnTo>
                  <a:lnTo>
                    <a:pt x="2257" y="1788"/>
                  </a:lnTo>
                  <a:lnTo>
                    <a:pt x="2256" y="1780"/>
                  </a:lnTo>
                  <a:lnTo>
                    <a:pt x="2393" y="1780"/>
                  </a:lnTo>
                  <a:lnTo>
                    <a:pt x="2393" y="1780"/>
                  </a:lnTo>
                  <a:lnTo>
                    <a:pt x="2394" y="1763"/>
                  </a:lnTo>
                  <a:lnTo>
                    <a:pt x="2394" y="1763"/>
                  </a:lnTo>
                  <a:lnTo>
                    <a:pt x="2394" y="1750"/>
                  </a:lnTo>
                  <a:lnTo>
                    <a:pt x="2392" y="1738"/>
                  </a:lnTo>
                  <a:lnTo>
                    <a:pt x="2391" y="1725"/>
                  </a:lnTo>
                  <a:lnTo>
                    <a:pt x="2388" y="1714"/>
                  </a:lnTo>
                  <a:lnTo>
                    <a:pt x="2384" y="1704"/>
                  </a:lnTo>
                  <a:lnTo>
                    <a:pt x="2380" y="1694"/>
                  </a:lnTo>
                  <a:lnTo>
                    <a:pt x="2374" y="1685"/>
                  </a:lnTo>
                  <a:lnTo>
                    <a:pt x="2369" y="1678"/>
                  </a:lnTo>
                  <a:lnTo>
                    <a:pt x="2362" y="1670"/>
                  </a:lnTo>
                  <a:lnTo>
                    <a:pt x="2355" y="1664"/>
                  </a:lnTo>
                  <a:lnTo>
                    <a:pt x="2348" y="1659"/>
                  </a:lnTo>
                  <a:lnTo>
                    <a:pt x="2339" y="1654"/>
                  </a:lnTo>
                  <a:lnTo>
                    <a:pt x="2330" y="1651"/>
                  </a:lnTo>
                  <a:lnTo>
                    <a:pt x="2321" y="1648"/>
                  </a:lnTo>
                  <a:lnTo>
                    <a:pt x="2311" y="1646"/>
                  </a:lnTo>
                  <a:lnTo>
                    <a:pt x="2300" y="1645"/>
                  </a:lnTo>
                  <a:lnTo>
                    <a:pt x="2300" y="1645"/>
                  </a:lnTo>
                  <a:lnTo>
                    <a:pt x="2290" y="1646"/>
                  </a:lnTo>
                  <a:lnTo>
                    <a:pt x="2280" y="1648"/>
                  </a:lnTo>
                  <a:lnTo>
                    <a:pt x="2270" y="1651"/>
                  </a:lnTo>
                  <a:lnTo>
                    <a:pt x="2260" y="1654"/>
                  </a:lnTo>
                  <a:lnTo>
                    <a:pt x="2251" y="1659"/>
                  </a:lnTo>
                  <a:lnTo>
                    <a:pt x="2243" y="1665"/>
                  </a:lnTo>
                  <a:lnTo>
                    <a:pt x="2235" y="1671"/>
                  </a:lnTo>
                  <a:lnTo>
                    <a:pt x="2229" y="1679"/>
                  </a:lnTo>
                  <a:lnTo>
                    <a:pt x="2222" y="1686"/>
                  </a:lnTo>
                  <a:lnTo>
                    <a:pt x="2216" y="1695"/>
                  </a:lnTo>
                  <a:lnTo>
                    <a:pt x="2212" y="1705"/>
                  </a:lnTo>
                  <a:lnTo>
                    <a:pt x="2207" y="1715"/>
                  </a:lnTo>
                  <a:lnTo>
                    <a:pt x="2204" y="1727"/>
                  </a:lnTo>
                  <a:lnTo>
                    <a:pt x="2202" y="1739"/>
                  </a:lnTo>
                  <a:lnTo>
                    <a:pt x="2201" y="1750"/>
                  </a:lnTo>
                  <a:lnTo>
                    <a:pt x="2200" y="1763"/>
                  </a:lnTo>
                  <a:lnTo>
                    <a:pt x="2200" y="1763"/>
                  </a:lnTo>
                  <a:lnTo>
                    <a:pt x="2201" y="1775"/>
                  </a:lnTo>
                  <a:lnTo>
                    <a:pt x="2202" y="1788"/>
                  </a:lnTo>
                  <a:lnTo>
                    <a:pt x="2204" y="1800"/>
                  </a:lnTo>
                  <a:lnTo>
                    <a:pt x="2207" y="1811"/>
                  </a:lnTo>
                  <a:lnTo>
                    <a:pt x="2212" y="1821"/>
                  </a:lnTo>
                  <a:lnTo>
                    <a:pt x="2216" y="1831"/>
                  </a:lnTo>
                  <a:lnTo>
                    <a:pt x="2222" y="1840"/>
                  </a:lnTo>
                  <a:lnTo>
                    <a:pt x="2229" y="1848"/>
                  </a:lnTo>
                  <a:lnTo>
                    <a:pt x="2236" y="1854"/>
                  </a:lnTo>
                  <a:lnTo>
                    <a:pt x="2244" y="1861"/>
                  </a:lnTo>
                  <a:lnTo>
                    <a:pt x="2253" y="1867"/>
                  </a:lnTo>
                  <a:lnTo>
                    <a:pt x="2262" y="1871"/>
                  </a:lnTo>
                  <a:lnTo>
                    <a:pt x="2272" y="1874"/>
                  </a:lnTo>
                  <a:lnTo>
                    <a:pt x="2283" y="1878"/>
                  </a:lnTo>
                  <a:lnTo>
                    <a:pt x="2294" y="1879"/>
                  </a:lnTo>
                  <a:lnTo>
                    <a:pt x="2306" y="1880"/>
                  </a:lnTo>
                  <a:lnTo>
                    <a:pt x="2306" y="1880"/>
                  </a:lnTo>
                  <a:lnTo>
                    <a:pt x="2317" y="1879"/>
                  </a:lnTo>
                  <a:lnTo>
                    <a:pt x="2327" y="1878"/>
                  </a:lnTo>
                  <a:lnTo>
                    <a:pt x="2339" y="1874"/>
                  </a:lnTo>
                  <a:lnTo>
                    <a:pt x="2349" y="1871"/>
                  </a:lnTo>
                  <a:lnTo>
                    <a:pt x="2359" y="1866"/>
                  </a:lnTo>
                  <a:lnTo>
                    <a:pt x="2368" y="1860"/>
                  </a:lnTo>
                  <a:lnTo>
                    <a:pt x="2376" y="1852"/>
                  </a:lnTo>
                  <a:lnTo>
                    <a:pt x="2385" y="1844"/>
                  </a:lnTo>
                  <a:lnTo>
                    <a:pt x="2350" y="1810"/>
                  </a:lnTo>
                  <a:close/>
                  <a:moveTo>
                    <a:pt x="2257" y="1739"/>
                  </a:moveTo>
                  <a:lnTo>
                    <a:pt x="2257" y="1739"/>
                  </a:lnTo>
                  <a:lnTo>
                    <a:pt x="2259" y="1729"/>
                  </a:lnTo>
                  <a:lnTo>
                    <a:pt x="2261" y="1720"/>
                  </a:lnTo>
                  <a:lnTo>
                    <a:pt x="2264" y="1712"/>
                  </a:lnTo>
                  <a:lnTo>
                    <a:pt x="2270" y="1705"/>
                  </a:lnTo>
                  <a:lnTo>
                    <a:pt x="2275" y="1700"/>
                  </a:lnTo>
                  <a:lnTo>
                    <a:pt x="2282" y="1696"/>
                  </a:lnTo>
                  <a:lnTo>
                    <a:pt x="2290" y="1693"/>
                  </a:lnTo>
                  <a:lnTo>
                    <a:pt x="2299" y="1693"/>
                  </a:lnTo>
                  <a:lnTo>
                    <a:pt x="2299" y="1693"/>
                  </a:lnTo>
                  <a:lnTo>
                    <a:pt x="2309" y="1694"/>
                  </a:lnTo>
                  <a:lnTo>
                    <a:pt x="2317" y="1696"/>
                  </a:lnTo>
                  <a:lnTo>
                    <a:pt x="2324" y="1701"/>
                  </a:lnTo>
                  <a:lnTo>
                    <a:pt x="2330" y="1708"/>
                  </a:lnTo>
                  <a:lnTo>
                    <a:pt x="2334" y="1714"/>
                  </a:lnTo>
                  <a:lnTo>
                    <a:pt x="2338" y="1722"/>
                  </a:lnTo>
                  <a:lnTo>
                    <a:pt x="2340" y="1731"/>
                  </a:lnTo>
                  <a:lnTo>
                    <a:pt x="2341" y="1739"/>
                  </a:lnTo>
                  <a:lnTo>
                    <a:pt x="2257" y="1739"/>
                  </a:lnTo>
                  <a:close/>
                  <a:moveTo>
                    <a:pt x="2884" y="1810"/>
                  </a:moveTo>
                  <a:lnTo>
                    <a:pt x="2884" y="1810"/>
                  </a:lnTo>
                  <a:lnTo>
                    <a:pt x="2875" y="1817"/>
                  </a:lnTo>
                  <a:lnTo>
                    <a:pt x="2867" y="1822"/>
                  </a:lnTo>
                  <a:lnTo>
                    <a:pt x="2860" y="1824"/>
                  </a:lnTo>
                  <a:lnTo>
                    <a:pt x="2854" y="1827"/>
                  </a:lnTo>
                  <a:lnTo>
                    <a:pt x="2848" y="1828"/>
                  </a:lnTo>
                  <a:lnTo>
                    <a:pt x="2840" y="1829"/>
                  </a:lnTo>
                  <a:lnTo>
                    <a:pt x="2840" y="1829"/>
                  </a:lnTo>
                  <a:lnTo>
                    <a:pt x="2834" y="1828"/>
                  </a:lnTo>
                  <a:lnTo>
                    <a:pt x="2828" y="1828"/>
                  </a:lnTo>
                  <a:lnTo>
                    <a:pt x="2820" y="1825"/>
                  </a:lnTo>
                  <a:lnTo>
                    <a:pt x="2812" y="1821"/>
                  </a:lnTo>
                  <a:lnTo>
                    <a:pt x="2804" y="1815"/>
                  </a:lnTo>
                  <a:lnTo>
                    <a:pt x="2801" y="1811"/>
                  </a:lnTo>
                  <a:lnTo>
                    <a:pt x="2798" y="1807"/>
                  </a:lnTo>
                  <a:lnTo>
                    <a:pt x="2795" y="1801"/>
                  </a:lnTo>
                  <a:lnTo>
                    <a:pt x="2793" y="1794"/>
                  </a:lnTo>
                  <a:lnTo>
                    <a:pt x="2791" y="1788"/>
                  </a:lnTo>
                  <a:lnTo>
                    <a:pt x="2790" y="1780"/>
                  </a:lnTo>
                  <a:lnTo>
                    <a:pt x="2928" y="1780"/>
                  </a:lnTo>
                  <a:lnTo>
                    <a:pt x="2928" y="1780"/>
                  </a:lnTo>
                  <a:lnTo>
                    <a:pt x="2929" y="1763"/>
                  </a:lnTo>
                  <a:lnTo>
                    <a:pt x="2929" y="1763"/>
                  </a:lnTo>
                  <a:lnTo>
                    <a:pt x="2928" y="1750"/>
                  </a:lnTo>
                  <a:lnTo>
                    <a:pt x="2927" y="1738"/>
                  </a:lnTo>
                  <a:lnTo>
                    <a:pt x="2924" y="1725"/>
                  </a:lnTo>
                  <a:lnTo>
                    <a:pt x="2922" y="1714"/>
                  </a:lnTo>
                  <a:lnTo>
                    <a:pt x="2918" y="1704"/>
                  </a:lnTo>
                  <a:lnTo>
                    <a:pt x="2913" y="1694"/>
                  </a:lnTo>
                  <a:lnTo>
                    <a:pt x="2909" y="1685"/>
                  </a:lnTo>
                  <a:lnTo>
                    <a:pt x="2903" y="1678"/>
                  </a:lnTo>
                  <a:lnTo>
                    <a:pt x="2897" y="1670"/>
                  </a:lnTo>
                  <a:lnTo>
                    <a:pt x="2889" y="1664"/>
                  </a:lnTo>
                  <a:lnTo>
                    <a:pt x="2881" y="1659"/>
                  </a:lnTo>
                  <a:lnTo>
                    <a:pt x="2873" y="1654"/>
                  </a:lnTo>
                  <a:lnTo>
                    <a:pt x="2864" y="1651"/>
                  </a:lnTo>
                  <a:lnTo>
                    <a:pt x="2854" y="1648"/>
                  </a:lnTo>
                  <a:lnTo>
                    <a:pt x="2844" y="1646"/>
                  </a:lnTo>
                  <a:lnTo>
                    <a:pt x="2834" y="1645"/>
                  </a:lnTo>
                  <a:lnTo>
                    <a:pt x="2834" y="1645"/>
                  </a:lnTo>
                  <a:lnTo>
                    <a:pt x="2823" y="1646"/>
                  </a:lnTo>
                  <a:lnTo>
                    <a:pt x="2813" y="1648"/>
                  </a:lnTo>
                  <a:lnTo>
                    <a:pt x="2803" y="1651"/>
                  </a:lnTo>
                  <a:lnTo>
                    <a:pt x="2794" y="1654"/>
                  </a:lnTo>
                  <a:lnTo>
                    <a:pt x="2785" y="1659"/>
                  </a:lnTo>
                  <a:lnTo>
                    <a:pt x="2777" y="1665"/>
                  </a:lnTo>
                  <a:lnTo>
                    <a:pt x="2770" y="1671"/>
                  </a:lnTo>
                  <a:lnTo>
                    <a:pt x="2762" y="1679"/>
                  </a:lnTo>
                  <a:lnTo>
                    <a:pt x="2755" y="1686"/>
                  </a:lnTo>
                  <a:lnTo>
                    <a:pt x="2750" y="1695"/>
                  </a:lnTo>
                  <a:lnTo>
                    <a:pt x="2745" y="1705"/>
                  </a:lnTo>
                  <a:lnTo>
                    <a:pt x="2741" y="1715"/>
                  </a:lnTo>
                  <a:lnTo>
                    <a:pt x="2739" y="1727"/>
                  </a:lnTo>
                  <a:lnTo>
                    <a:pt x="2735" y="1739"/>
                  </a:lnTo>
                  <a:lnTo>
                    <a:pt x="2734" y="1750"/>
                  </a:lnTo>
                  <a:lnTo>
                    <a:pt x="2734" y="1763"/>
                  </a:lnTo>
                  <a:lnTo>
                    <a:pt x="2734" y="1763"/>
                  </a:lnTo>
                  <a:lnTo>
                    <a:pt x="2734" y="1775"/>
                  </a:lnTo>
                  <a:lnTo>
                    <a:pt x="2735" y="1788"/>
                  </a:lnTo>
                  <a:lnTo>
                    <a:pt x="2738" y="1800"/>
                  </a:lnTo>
                  <a:lnTo>
                    <a:pt x="2741" y="1811"/>
                  </a:lnTo>
                  <a:lnTo>
                    <a:pt x="2745" y="1821"/>
                  </a:lnTo>
                  <a:lnTo>
                    <a:pt x="2751" y="1831"/>
                  </a:lnTo>
                  <a:lnTo>
                    <a:pt x="2757" y="1840"/>
                  </a:lnTo>
                  <a:lnTo>
                    <a:pt x="2763" y="1848"/>
                  </a:lnTo>
                  <a:lnTo>
                    <a:pt x="2770" y="1854"/>
                  </a:lnTo>
                  <a:lnTo>
                    <a:pt x="2778" y="1861"/>
                  </a:lnTo>
                  <a:lnTo>
                    <a:pt x="2787" y="1867"/>
                  </a:lnTo>
                  <a:lnTo>
                    <a:pt x="2797" y="1871"/>
                  </a:lnTo>
                  <a:lnTo>
                    <a:pt x="2807" y="1874"/>
                  </a:lnTo>
                  <a:lnTo>
                    <a:pt x="2817" y="1878"/>
                  </a:lnTo>
                  <a:lnTo>
                    <a:pt x="2829" y="1879"/>
                  </a:lnTo>
                  <a:lnTo>
                    <a:pt x="2840" y="1880"/>
                  </a:lnTo>
                  <a:lnTo>
                    <a:pt x="2840" y="1880"/>
                  </a:lnTo>
                  <a:lnTo>
                    <a:pt x="2851" y="1879"/>
                  </a:lnTo>
                  <a:lnTo>
                    <a:pt x="2862" y="1878"/>
                  </a:lnTo>
                  <a:lnTo>
                    <a:pt x="2872" y="1874"/>
                  </a:lnTo>
                  <a:lnTo>
                    <a:pt x="2882" y="1871"/>
                  </a:lnTo>
                  <a:lnTo>
                    <a:pt x="2892" y="1866"/>
                  </a:lnTo>
                  <a:lnTo>
                    <a:pt x="2902" y="1860"/>
                  </a:lnTo>
                  <a:lnTo>
                    <a:pt x="2911" y="1852"/>
                  </a:lnTo>
                  <a:lnTo>
                    <a:pt x="2919" y="1844"/>
                  </a:lnTo>
                  <a:lnTo>
                    <a:pt x="2884" y="1810"/>
                  </a:lnTo>
                  <a:close/>
                  <a:moveTo>
                    <a:pt x="2791" y="1739"/>
                  </a:moveTo>
                  <a:lnTo>
                    <a:pt x="2791" y="1739"/>
                  </a:lnTo>
                  <a:lnTo>
                    <a:pt x="2792" y="1729"/>
                  </a:lnTo>
                  <a:lnTo>
                    <a:pt x="2795" y="1720"/>
                  </a:lnTo>
                  <a:lnTo>
                    <a:pt x="2799" y="1712"/>
                  </a:lnTo>
                  <a:lnTo>
                    <a:pt x="2803" y="1705"/>
                  </a:lnTo>
                  <a:lnTo>
                    <a:pt x="2810" y="1700"/>
                  </a:lnTo>
                  <a:lnTo>
                    <a:pt x="2817" y="1696"/>
                  </a:lnTo>
                  <a:lnTo>
                    <a:pt x="2824" y="1693"/>
                  </a:lnTo>
                  <a:lnTo>
                    <a:pt x="2833" y="1693"/>
                  </a:lnTo>
                  <a:lnTo>
                    <a:pt x="2833" y="1693"/>
                  </a:lnTo>
                  <a:lnTo>
                    <a:pt x="2843" y="1694"/>
                  </a:lnTo>
                  <a:lnTo>
                    <a:pt x="2851" y="1696"/>
                  </a:lnTo>
                  <a:lnTo>
                    <a:pt x="2859" y="1701"/>
                  </a:lnTo>
                  <a:lnTo>
                    <a:pt x="2864" y="1708"/>
                  </a:lnTo>
                  <a:lnTo>
                    <a:pt x="2869" y="1714"/>
                  </a:lnTo>
                  <a:lnTo>
                    <a:pt x="2872" y="1722"/>
                  </a:lnTo>
                  <a:lnTo>
                    <a:pt x="2874" y="1731"/>
                  </a:lnTo>
                  <a:lnTo>
                    <a:pt x="2875" y="1739"/>
                  </a:lnTo>
                  <a:lnTo>
                    <a:pt x="2791" y="1739"/>
                  </a:lnTo>
                  <a:close/>
                  <a:moveTo>
                    <a:pt x="2658" y="1797"/>
                  </a:moveTo>
                  <a:lnTo>
                    <a:pt x="2658" y="1797"/>
                  </a:lnTo>
                  <a:lnTo>
                    <a:pt x="2658" y="1804"/>
                  </a:lnTo>
                  <a:lnTo>
                    <a:pt x="2659" y="1810"/>
                  </a:lnTo>
                  <a:lnTo>
                    <a:pt x="2661" y="1815"/>
                  </a:lnTo>
                  <a:lnTo>
                    <a:pt x="2663" y="1820"/>
                  </a:lnTo>
                  <a:lnTo>
                    <a:pt x="2667" y="1823"/>
                  </a:lnTo>
                  <a:lnTo>
                    <a:pt x="2671" y="1825"/>
                  </a:lnTo>
                  <a:lnTo>
                    <a:pt x="2675" y="1827"/>
                  </a:lnTo>
                  <a:lnTo>
                    <a:pt x="2682" y="1827"/>
                  </a:lnTo>
                  <a:lnTo>
                    <a:pt x="2682" y="1827"/>
                  </a:lnTo>
                  <a:lnTo>
                    <a:pt x="2690" y="1827"/>
                  </a:lnTo>
                  <a:lnTo>
                    <a:pt x="2699" y="1824"/>
                  </a:lnTo>
                  <a:lnTo>
                    <a:pt x="2708" y="1821"/>
                  </a:lnTo>
                  <a:lnTo>
                    <a:pt x="2715" y="1817"/>
                  </a:lnTo>
                  <a:lnTo>
                    <a:pt x="2709" y="1869"/>
                  </a:lnTo>
                  <a:lnTo>
                    <a:pt x="2709" y="1869"/>
                  </a:lnTo>
                  <a:lnTo>
                    <a:pt x="2699" y="1873"/>
                  </a:lnTo>
                  <a:lnTo>
                    <a:pt x="2687" y="1877"/>
                  </a:lnTo>
                  <a:lnTo>
                    <a:pt x="2674" y="1879"/>
                  </a:lnTo>
                  <a:lnTo>
                    <a:pt x="2662" y="1880"/>
                  </a:lnTo>
                  <a:lnTo>
                    <a:pt x="2662" y="1880"/>
                  </a:lnTo>
                  <a:lnTo>
                    <a:pt x="2654" y="1879"/>
                  </a:lnTo>
                  <a:lnTo>
                    <a:pt x="2647" y="1878"/>
                  </a:lnTo>
                  <a:lnTo>
                    <a:pt x="2640" y="1876"/>
                  </a:lnTo>
                  <a:lnTo>
                    <a:pt x="2634" y="1873"/>
                  </a:lnTo>
                  <a:lnTo>
                    <a:pt x="2629" y="1870"/>
                  </a:lnTo>
                  <a:lnTo>
                    <a:pt x="2623" y="1867"/>
                  </a:lnTo>
                  <a:lnTo>
                    <a:pt x="2620" y="1862"/>
                  </a:lnTo>
                  <a:lnTo>
                    <a:pt x="2615" y="1857"/>
                  </a:lnTo>
                  <a:lnTo>
                    <a:pt x="2610" y="1847"/>
                  </a:lnTo>
                  <a:lnTo>
                    <a:pt x="2605" y="1834"/>
                  </a:lnTo>
                  <a:lnTo>
                    <a:pt x="2603" y="1823"/>
                  </a:lnTo>
                  <a:lnTo>
                    <a:pt x="2602" y="1811"/>
                  </a:lnTo>
                  <a:lnTo>
                    <a:pt x="2602" y="1702"/>
                  </a:lnTo>
                  <a:lnTo>
                    <a:pt x="2568" y="1702"/>
                  </a:lnTo>
                  <a:lnTo>
                    <a:pt x="2568" y="1651"/>
                  </a:lnTo>
                  <a:lnTo>
                    <a:pt x="2602" y="1651"/>
                  </a:lnTo>
                  <a:lnTo>
                    <a:pt x="2602" y="1593"/>
                  </a:lnTo>
                  <a:lnTo>
                    <a:pt x="2658" y="1565"/>
                  </a:lnTo>
                  <a:lnTo>
                    <a:pt x="2658" y="1651"/>
                  </a:lnTo>
                  <a:lnTo>
                    <a:pt x="2708" y="1651"/>
                  </a:lnTo>
                  <a:lnTo>
                    <a:pt x="2708" y="1702"/>
                  </a:lnTo>
                  <a:lnTo>
                    <a:pt x="2658" y="1702"/>
                  </a:lnTo>
                  <a:lnTo>
                    <a:pt x="2658" y="1797"/>
                  </a:lnTo>
                  <a:close/>
                  <a:moveTo>
                    <a:pt x="2550" y="1869"/>
                  </a:moveTo>
                  <a:lnTo>
                    <a:pt x="2550" y="1869"/>
                  </a:lnTo>
                  <a:lnTo>
                    <a:pt x="2540" y="1873"/>
                  </a:lnTo>
                  <a:lnTo>
                    <a:pt x="2529" y="1877"/>
                  </a:lnTo>
                  <a:lnTo>
                    <a:pt x="2516" y="1879"/>
                  </a:lnTo>
                  <a:lnTo>
                    <a:pt x="2504" y="1880"/>
                  </a:lnTo>
                  <a:lnTo>
                    <a:pt x="2504" y="1880"/>
                  </a:lnTo>
                  <a:lnTo>
                    <a:pt x="2495" y="1879"/>
                  </a:lnTo>
                  <a:lnTo>
                    <a:pt x="2489" y="1878"/>
                  </a:lnTo>
                  <a:lnTo>
                    <a:pt x="2482" y="1876"/>
                  </a:lnTo>
                  <a:lnTo>
                    <a:pt x="2475" y="1873"/>
                  </a:lnTo>
                  <a:lnTo>
                    <a:pt x="2471" y="1870"/>
                  </a:lnTo>
                  <a:lnTo>
                    <a:pt x="2465" y="1867"/>
                  </a:lnTo>
                  <a:lnTo>
                    <a:pt x="2461" y="1862"/>
                  </a:lnTo>
                  <a:lnTo>
                    <a:pt x="2458" y="1857"/>
                  </a:lnTo>
                  <a:lnTo>
                    <a:pt x="2451" y="1847"/>
                  </a:lnTo>
                  <a:lnTo>
                    <a:pt x="2448" y="1834"/>
                  </a:lnTo>
                  <a:lnTo>
                    <a:pt x="2444" y="1823"/>
                  </a:lnTo>
                  <a:lnTo>
                    <a:pt x="2444" y="1811"/>
                  </a:lnTo>
                  <a:lnTo>
                    <a:pt x="2444" y="1702"/>
                  </a:lnTo>
                  <a:lnTo>
                    <a:pt x="2410" y="1702"/>
                  </a:lnTo>
                  <a:lnTo>
                    <a:pt x="2410" y="1651"/>
                  </a:lnTo>
                  <a:lnTo>
                    <a:pt x="2444" y="1651"/>
                  </a:lnTo>
                  <a:lnTo>
                    <a:pt x="2444" y="1593"/>
                  </a:lnTo>
                  <a:lnTo>
                    <a:pt x="2500" y="1565"/>
                  </a:lnTo>
                  <a:lnTo>
                    <a:pt x="2500" y="1651"/>
                  </a:lnTo>
                  <a:lnTo>
                    <a:pt x="2546" y="1651"/>
                  </a:lnTo>
                  <a:lnTo>
                    <a:pt x="2546" y="1702"/>
                  </a:lnTo>
                  <a:lnTo>
                    <a:pt x="2500" y="1702"/>
                  </a:lnTo>
                  <a:lnTo>
                    <a:pt x="2500" y="1797"/>
                  </a:lnTo>
                  <a:lnTo>
                    <a:pt x="2500" y="1797"/>
                  </a:lnTo>
                  <a:lnTo>
                    <a:pt x="2500" y="1804"/>
                  </a:lnTo>
                  <a:lnTo>
                    <a:pt x="2501" y="1810"/>
                  </a:lnTo>
                  <a:lnTo>
                    <a:pt x="2503" y="1815"/>
                  </a:lnTo>
                  <a:lnTo>
                    <a:pt x="2505" y="1820"/>
                  </a:lnTo>
                  <a:lnTo>
                    <a:pt x="2509" y="1823"/>
                  </a:lnTo>
                  <a:lnTo>
                    <a:pt x="2513" y="1825"/>
                  </a:lnTo>
                  <a:lnTo>
                    <a:pt x="2518" y="1827"/>
                  </a:lnTo>
                  <a:lnTo>
                    <a:pt x="2523" y="1827"/>
                  </a:lnTo>
                  <a:lnTo>
                    <a:pt x="2523" y="1827"/>
                  </a:lnTo>
                  <a:lnTo>
                    <a:pt x="2532" y="1827"/>
                  </a:lnTo>
                  <a:lnTo>
                    <a:pt x="2541" y="1824"/>
                  </a:lnTo>
                  <a:lnTo>
                    <a:pt x="2549" y="1821"/>
                  </a:lnTo>
                  <a:lnTo>
                    <a:pt x="2556" y="1817"/>
                  </a:lnTo>
                  <a:lnTo>
                    <a:pt x="2550" y="1869"/>
                  </a:lnTo>
                  <a:close/>
                  <a:moveTo>
                    <a:pt x="3096" y="1713"/>
                  </a:moveTo>
                  <a:lnTo>
                    <a:pt x="3096" y="1713"/>
                  </a:lnTo>
                  <a:lnTo>
                    <a:pt x="3088" y="1708"/>
                  </a:lnTo>
                  <a:lnTo>
                    <a:pt x="3079" y="1704"/>
                  </a:lnTo>
                  <a:lnTo>
                    <a:pt x="3069" y="1702"/>
                  </a:lnTo>
                  <a:lnTo>
                    <a:pt x="3059" y="1701"/>
                  </a:lnTo>
                  <a:lnTo>
                    <a:pt x="3059" y="1701"/>
                  </a:lnTo>
                  <a:lnTo>
                    <a:pt x="3050" y="1702"/>
                  </a:lnTo>
                  <a:lnTo>
                    <a:pt x="3041" y="1704"/>
                  </a:lnTo>
                  <a:lnTo>
                    <a:pt x="3034" y="1709"/>
                  </a:lnTo>
                  <a:lnTo>
                    <a:pt x="3029" y="1714"/>
                  </a:lnTo>
                  <a:lnTo>
                    <a:pt x="3024" y="1721"/>
                  </a:lnTo>
                  <a:lnTo>
                    <a:pt x="3022" y="1730"/>
                  </a:lnTo>
                  <a:lnTo>
                    <a:pt x="3020" y="1741"/>
                  </a:lnTo>
                  <a:lnTo>
                    <a:pt x="3019" y="1753"/>
                  </a:lnTo>
                  <a:lnTo>
                    <a:pt x="3019" y="1874"/>
                  </a:lnTo>
                  <a:lnTo>
                    <a:pt x="2964" y="1874"/>
                  </a:lnTo>
                  <a:lnTo>
                    <a:pt x="2964" y="1651"/>
                  </a:lnTo>
                  <a:lnTo>
                    <a:pt x="3019" y="1651"/>
                  </a:lnTo>
                  <a:lnTo>
                    <a:pt x="3019" y="1670"/>
                  </a:lnTo>
                  <a:lnTo>
                    <a:pt x="3019" y="1670"/>
                  </a:lnTo>
                  <a:lnTo>
                    <a:pt x="3024" y="1664"/>
                  </a:lnTo>
                  <a:lnTo>
                    <a:pt x="3030" y="1659"/>
                  </a:lnTo>
                  <a:lnTo>
                    <a:pt x="3036" y="1655"/>
                  </a:lnTo>
                  <a:lnTo>
                    <a:pt x="3042" y="1652"/>
                  </a:lnTo>
                  <a:lnTo>
                    <a:pt x="3048" y="1649"/>
                  </a:lnTo>
                  <a:lnTo>
                    <a:pt x="3054" y="1648"/>
                  </a:lnTo>
                  <a:lnTo>
                    <a:pt x="3061" y="1646"/>
                  </a:lnTo>
                  <a:lnTo>
                    <a:pt x="3069" y="1645"/>
                  </a:lnTo>
                  <a:lnTo>
                    <a:pt x="3069" y="1645"/>
                  </a:lnTo>
                  <a:lnTo>
                    <a:pt x="3080" y="1646"/>
                  </a:lnTo>
                  <a:lnTo>
                    <a:pt x="3091" y="1650"/>
                  </a:lnTo>
                  <a:lnTo>
                    <a:pt x="3101" y="1653"/>
                  </a:lnTo>
                  <a:lnTo>
                    <a:pt x="3110" y="1659"/>
                  </a:lnTo>
                  <a:lnTo>
                    <a:pt x="3096" y="1713"/>
                  </a:lnTo>
                  <a:close/>
                  <a:moveTo>
                    <a:pt x="597" y="1591"/>
                  </a:moveTo>
                  <a:lnTo>
                    <a:pt x="597" y="1619"/>
                  </a:lnTo>
                  <a:lnTo>
                    <a:pt x="541" y="1619"/>
                  </a:lnTo>
                  <a:lnTo>
                    <a:pt x="541" y="1563"/>
                  </a:lnTo>
                  <a:lnTo>
                    <a:pt x="597" y="1563"/>
                  </a:lnTo>
                  <a:lnTo>
                    <a:pt x="597" y="1591"/>
                  </a:lnTo>
                  <a:close/>
                  <a:moveTo>
                    <a:pt x="981" y="1651"/>
                  </a:moveTo>
                  <a:lnTo>
                    <a:pt x="1037" y="1651"/>
                  </a:lnTo>
                  <a:lnTo>
                    <a:pt x="1037" y="1751"/>
                  </a:lnTo>
                  <a:lnTo>
                    <a:pt x="1037" y="1874"/>
                  </a:lnTo>
                  <a:lnTo>
                    <a:pt x="981" y="1874"/>
                  </a:lnTo>
                  <a:lnTo>
                    <a:pt x="981" y="1651"/>
                  </a:lnTo>
                  <a:close/>
                  <a:moveTo>
                    <a:pt x="1037" y="1591"/>
                  </a:moveTo>
                  <a:lnTo>
                    <a:pt x="1037" y="1619"/>
                  </a:lnTo>
                  <a:lnTo>
                    <a:pt x="981" y="1619"/>
                  </a:lnTo>
                  <a:lnTo>
                    <a:pt x="981" y="1563"/>
                  </a:lnTo>
                  <a:lnTo>
                    <a:pt x="1037" y="1563"/>
                  </a:lnTo>
                  <a:lnTo>
                    <a:pt x="1037" y="1591"/>
                  </a:lnTo>
                  <a:close/>
                  <a:moveTo>
                    <a:pt x="2558" y="2058"/>
                  </a:moveTo>
                  <a:lnTo>
                    <a:pt x="2558" y="2058"/>
                  </a:lnTo>
                  <a:lnTo>
                    <a:pt x="2552" y="2053"/>
                  </a:lnTo>
                  <a:lnTo>
                    <a:pt x="2546" y="2049"/>
                  </a:lnTo>
                  <a:lnTo>
                    <a:pt x="2541" y="2046"/>
                  </a:lnTo>
                  <a:lnTo>
                    <a:pt x="2534" y="2042"/>
                  </a:lnTo>
                  <a:lnTo>
                    <a:pt x="2529" y="2040"/>
                  </a:lnTo>
                  <a:lnTo>
                    <a:pt x="2522" y="2039"/>
                  </a:lnTo>
                  <a:lnTo>
                    <a:pt x="2508" y="2037"/>
                  </a:lnTo>
                  <a:lnTo>
                    <a:pt x="2508" y="2037"/>
                  </a:lnTo>
                  <a:lnTo>
                    <a:pt x="2498" y="2038"/>
                  </a:lnTo>
                  <a:lnTo>
                    <a:pt x="2489" y="2039"/>
                  </a:lnTo>
                  <a:lnTo>
                    <a:pt x="2480" y="2042"/>
                  </a:lnTo>
                  <a:lnTo>
                    <a:pt x="2471" y="2046"/>
                  </a:lnTo>
                  <a:lnTo>
                    <a:pt x="2463" y="2050"/>
                  </a:lnTo>
                  <a:lnTo>
                    <a:pt x="2456" y="2055"/>
                  </a:lnTo>
                  <a:lnTo>
                    <a:pt x="2450" y="2061"/>
                  </a:lnTo>
                  <a:lnTo>
                    <a:pt x="2443" y="2068"/>
                  </a:lnTo>
                  <a:lnTo>
                    <a:pt x="2439" y="2076"/>
                  </a:lnTo>
                  <a:lnTo>
                    <a:pt x="2433" y="2085"/>
                  </a:lnTo>
                  <a:lnTo>
                    <a:pt x="2430" y="2093"/>
                  </a:lnTo>
                  <a:lnTo>
                    <a:pt x="2426" y="2105"/>
                  </a:lnTo>
                  <a:lnTo>
                    <a:pt x="2423" y="2115"/>
                  </a:lnTo>
                  <a:lnTo>
                    <a:pt x="2422" y="2127"/>
                  </a:lnTo>
                  <a:lnTo>
                    <a:pt x="2421" y="2139"/>
                  </a:lnTo>
                  <a:lnTo>
                    <a:pt x="2420" y="2152"/>
                  </a:lnTo>
                  <a:lnTo>
                    <a:pt x="2420" y="2152"/>
                  </a:lnTo>
                  <a:lnTo>
                    <a:pt x="2421" y="2166"/>
                  </a:lnTo>
                  <a:lnTo>
                    <a:pt x="2422" y="2178"/>
                  </a:lnTo>
                  <a:lnTo>
                    <a:pt x="2423" y="2190"/>
                  </a:lnTo>
                  <a:lnTo>
                    <a:pt x="2426" y="2202"/>
                  </a:lnTo>
                  <a:lnTo>
                    <a:pt x="2429" y="2212"/>
                  </a:lnTo>
                  <a:lnTo>
                    <a:pt x="2433" y="2222"/>
                  </a:lnTo>
                  <a:lnTo>
                    <a:pt x="2438" y="2231"/>
                  </a:lnTo>
                  <a:lnTo>
                    <a:pt x="2443" y="2239"/>
                  </a:lnTo>
                  <a:lnTo>
                    <a:pt x="2449" y="2247"/>
                  </a:lnTo>
                  <a:lnTo>
                    <a:pt x="2455" y="2252"/>
                  </a:lnTo>
                  <a:lnTo>
                    <a:pt x="2462" y="2258"/>
                  </a:lnTo>
                  <a:lnTo>
                    <a:pt x="2470" y="2262"/>
                  </a:lnTo>
                  <a:lnTo>
                    <a:pt x="2479" y="2267"/>
                  </a:lnTo>
                  <a:lnTo>
                    <a:pt x="2488" y="2269"/>
                  </a:lnTo>
                  <a:lnTo>
                    <a:pt x="2496" y="2270"/>
                  </a:lnTo>
                  <a:lnTo>
                    <a:pt x="2506" y="2271"/>
                  </a:lnTo>
                  <a:lnTo>
                    <a:pt x="2506" y="2271"/>
                  </a:lnTo>
                  <a:lnTo>
                    <a:pt x="2513" y="2270"/>
                  </a:lnTo>
                  <a:lnTo>
                    <a:pt x="2521" y="2269"/>
                  </a:lnTo>
                  <a:lnTo>
                    <a:pt x="2528" y="2268"/>
                  </a:lnTo>
                  <a:lnTo>
                    <a:pt x="2533" y="2266"/>
                  </a:lnTo>
                  <a:lnTo>
                    <a:pt x="2540" y="2262"/>
                  </a:lnTo>
                  <a:lnTo>
                    <a:pt x="2546" y="2259"/>
                  </a:lnTo>
                  <a:lnTo>
                    <a:pt x="2552" y="2255"/>
                  </a:lnTo>
                  <a:lnTo>
                    <a:pt x="2558" y="2249"/>
                  </a:lnTo>
                  <a:lnTo>
                    <a:pt x="2558" y="2266"/>
                  </a:lnTo>
                  <a:lnTo>
                    <a:pt x="2613" y="2266"/>
                  </a:lnTo>
                  <a:lnTo>
                    <a:pt x="2613" y="1949"/>
                  </a:lnTo>
                  <a:lnTo>
                    <a:pt x="2558" y="1977"/>
                  </a:lnTo>
                  <a:lnTo>
                    <a:pt x="2558" y="2058"/>
                  </a:lnTo>
                  <a:close/>
                  <a:moveTo>
                    <a:pt x="2519" y="2220"/>
                  </a:moveTo>
                  <a:lnTo>
                    <a:pt x="2519" y="2220"/>
                  </a:lnTo>
                  <a:lnTo>
                    <a:pt x="2511" y="2219"/>
                  </a:lnTo>
                  <a:lnTo>
                    <a:pt x="2504" y="2217"/>
                  </a:lnTo>
                  <a:lnTo>
                    <a:pt x="2496" y="2214"/>
                  </a:lnTo>
                  <a:lnTo>
                    <a:pt x="2490" y="2207"/>
                  </a:lnTo>
                  <a:lnTo>
                    <a:pt x="2484" y="2198"/>
                  </a:lnTo>
                  <a:lnTo>
                    <a:pt x="2480" y="2186"/>
                  </a:lnTo>
                  <a:lnTo>
                    <a:pt x="2478" y="2170"/>
                  </a:lnTo>
                  <a:lnTo>
                    <a:pt x="2476" y="2150"/>
                  </a:lnTo>
                  <a:lnTo>
                    <a:pt x="2476" y="2150"/>
                  </a:lnTo>
                  <a:lnTo>
                    <a:pt x="2478" y="2133"/>
                  </a:lnTo>
                  <a:lnTo>
                    <a:pt x="2480" y="2119"/>
                  </a:lnTo>
                  <a:lnTo>
                    <a:pt x="2484" y="2108"/>
                  </a:lnTo>
                  <a:lnTo>
                    <a:pt x="2490" y="2100"/>
                  </a:lnTo>
                  <a:lnTo>
                    <a:pt x="2496" y="2095"/>
                  </a:lnTo>
                  <a:lnTo>
                    <a:pt x="2503" y="2090"/>
                  </a:lnTo>
                  <a:lnTo>
                    <a:pt x="2511" y="2089"/>
                  </a:lnTo>
                  <a:lnTo>
                    <a:pt x="2518" y="2088"/>
                  </a:lnTo>
                  <a:lnTo>
                    <a:pt x="2518" y="2088"/>
                  </a:lnTo>
                  <a:lnTo>
                    <a:pt x="2525" y="2089"/>
                  </a:lnTo>
                  <a:lnTo>
                    <a:pt x="2532" y="2090"/>
                  </a:lnTo>
                  <a:lnTo>
                    <a:pt x="2538" y="2092"/>
                  </a:lnTo>
                  <a:lnTo>
                    <a:pt x="2543" y="2096"/>
                  </a:lnTo>
                  <a:lnTo>
                    <a:pt x="2548" y="2099"/>
                  </a:lnTo>
                  <a:lnTo>
                    <a:pt x="2552" y="2102"/>
                  </a:lnTo>
                  <a:lnTo>
                    <a:pt x="2558" y="2110"/>
                  </a:lnTo>
                  <a:lnTo>
                    <a:pt x="2558" y="2198"/>
                  </a:lnTo>
                  <a:lnTo>
                    <a:pt x="2558" y="2198"/>
                  </a:lnTo>
                  <a:lnTo>
                    <a:pt x="2551" y="2206"/>
                  </a:lnTo>
                  <a:lnTo>
                    <a:pt x="2543" y="2212"/>
                  </a:lnTo>
                  <a:lnTo>
                    <a:pt x="2538" y="2216"/>
                  </a:lnTo>
                  <a:lnTo>
                    <a:pt x="2532" y="2218"/>
                  </a:lnTo>
                  <a:lnTo>
                    <a:pt x="2525" y="2219"/>
                  </a:lnTo>
                  <a:lnTo>
                    <a:pt x="2519" y="2220"/>
                  </a:lnTo>
                  <a:lnTo>
                    <a:pt x="2519" y="2220"/>
                  </a:lnTo>
                  <a:close/>
                  <a:moveTo>
                    <a:pt x="677" y="2105"/>
                  </a:moveTo>
                  <a:lnTo>
                    <a:pt x="677" y="2105"/>
                  </a:lnTo>
                  <a:lnTo>
                    <a:pt x="669" y="2100"/>
                  </a:lnTo>
                  <a:lnTo>
                    <a:pt x="660" y="2096"/>
                  </a:lnTo>
                  <a:lnTo>
                    <a:pt x="650" y="2093"/>
                  </a:lnTo>
                  <a:lnTo>
                    <a:pt x="640" y="2092"/>
                  </a:lnTo>
                  <a:lnTo>
                    <a:pt x="640" y="2092"/>
                  </a:lnTo>
                  <a:lnTo>
                    <a:pt x="631" y="2093"/>
                  </a:lnTo>
                  <a:lnTo>
                    <a:pt x="622" y="2096"/>
                  </a:lnTo>
                  <a:lnTo>
                    <a:pt x="616" y="2100"/>
                  </a:lnTo>
                  <a:lnTo>
                    <a:pt x="610" y="2106"/>
                  </a:lnTo>
                  <a:lnTo>
                    <a:pt x="606" y="2112"/>
                  </a:lnTo>
                  <a:lnTo>
                    <a:pt x="604" y="2121"/>
                  </a:lnTo>
                  <a:lnTo>
                    <a:pt x="601" y="2132"/>
                  </a:lnTo>
                  <a:lnTo>
                    <a:pt x="600" y="2145"/>
                  </a:lnTo>
                  <a:lnTo>
                    <a:pt x="600" y="2266"/>
                  </a:lnTo>
                  <a:lnTo>
                    <a:pt x="546" y="2266"/>
                  </a:lnTo>
                  <a:lnTo>
                    <a:pt x="546" y="2042"/>
                  </a:lnTo>
                  <a:lnTo>
                    <a:pt x="600" y="2042"/>
                  </a:lnTo>
                  <a:lnTo>
                    <a:pt x="600" y="2061"/>
                  </a:lnTo>
                  <a:lnTo>
                    <a:pt x="600" y="2061"/>
                  </a:lnTo>
                  <a:lnTo>
                    <a:pt x="606" y="2056"/>
                  </a:lnTo>
                  <a:lnTo>
                    <a:pt x="611" y="2050"/>
                  </a:lnTo>
                  <a:lnTo>
                    <a:pt x="617" y="2047"/>
                  </a:lnTo>
                  <a:lnTo>
                    <a:pt x="624" y="2043"/>
                  </a:lnTo>
                  <a:lnTo>
                    <a:pt x="629" y="2040"/>
                  </a:lnTo>
                  <a:lnTo>
                    <a:pt x="636" y="2039"/>
                  </a:lnTo>
                  <a:lnTo>
                    <a:pt x="644" y="2038"/>
                  </a:lnTo>
                  <a:lnTo>
                    <a:pt x="650" y="2037"/>
                  </a:lnTo>
                  <a:lnTo>
                    <a:pt x="650" y="2037"/>
                  </a:lnTo>
                  <a:lnTo>
                    <a:pt x="661" y="2038"/>
                  </a:lnTo>
                  <a:lnTo>
                    <a:pt x="672" y="2041"/>
                  </a:lnTo>
                  <a:lnTo>
                    <a:pt x="684" y="2046"/>
                  </a:lnTo>
                  <a:lnTo>
                    <a:pt x="692" y="2051"/>
                  </a:lnTo>
                  <a:lnTo>
                    <a:pt x="677" y="2105"/>
                  </a:lnTo>
                  <a:close/>
                  <a:moveTo>
                    <a:pt x="242" y="2042"/>
                  </a:moveTo>
                  <a:lnTo>
                    <a:pt x="297" y="2042"/>
                  </a:lnTo>
                  <a:lnTo>
                    <a:pt x="233" y="2266"/>
                  </a:lnTo>
                  <a:lnTo>
                    <a:pt x="186" y="2266"/>
                  </a:lnTo>
                  <a:lnTo>
                    <a:pt x="161" y="2174"/>
                  </a:lnTo>
                  <a:lnTo>
                    <a:pt x="161" y="2174"/>
                  </a:lnTo>
                  <a:lnTo>
                    <a:pt x="149" y="2125"/>
                  </a:lnTo>
                  <a:lnTo>
                    <a:pt x="149" y="2125"/>
                  </a:lnTo>
                  <a:lnTo>
                    <a:pt x="143" y="2148"/>
                  </a:lnTo>
                  <a:lnTo>
                    <a:pt x="137" y="2175"/>
                  </a:lnTo>
                  <a:lnTo>
                    <a:pt x="111" y="2266"/>
                  </a:lnTo>
                  <a:lnTo>
                    <a:pt x="63" y="2266"/>
                  </a:lnTo>
                  <a:lnTo>
                    <a:pt x="63" y="2265"/>
                  </a:lnTo>
                  <a:lnTo>
                    <a:pt x="0" y="2042"/>
                  </a:lnTo>
                  <a:lnTo>
                    <a:pt x="58" y="2042"/>
                  </a:lnTo>
                  <a:lnTo>
                    <a:pt x="78" y="2126"/>
                  </a:lnTo>
                  <a:lnTo>
                    <a:pt x="78" y="2126"/>
                  </a:lnTo>
                  <a:lnTo>
                    <a:pt x="83" y="2152"/>
                  </a:lnTo>
                  <a:lnTo>
                    <a:pt x="89" y="2180"/>
                  </a:lnTo>
                  <a:lnTo>
                    <a:pt x="89" y="2180"/>
                  </a:lnTo>
                  <a:lnTo>
                    <a:pt x="96" y="2152"/>
                  </a:lnTo>
                  <a:lnTo>
                    <a:pt x="102" y="2125"/>
                  </a:lnTo>
                  <a:lnTo>
                    <a:pt x="126" y="2042"/>
                  </a:lnTo>
                  <a:lnTo>
                    <a:pt x="173" y="2042"/>
                  </a:lnTo>
                  <a:lnTo>
                    <a:pt x="197" y="2125"/>
                  </a:lnTo>
                  <a:lnTo>
                    <a:pt x="197" y="2125"/>
                  </a:lnTo>
                  <a:lnTo>
                    <a:pt x="203" y="2151"/>
                  </a:lnTo>
                  <a:lnTo>
                    <a:pt x="210" y="2181"/>
                  </a:lnTo>
                  <a:lnTo>
                    <a:pt x="210" y="2181"/>
                  </a:lnTo>
                  <a:lnTo>
                    <a:pt x="215" y="2156"/>
                  </a:lnTo>
                  <a:lnTo>
                    <a:pt x="221" y="2125"/>
                  </a:lnTo>
                  <a:lnTo>
                    <a:pt x="242" y="2042"/>
                  </a:lnTo>
                  <a:close/>
                  <a:moveTo>
                    <a:pt x="409" y="2037"/>
                  </a:moveTo>
                  <a:lnTo>
                    <a:pt x="409" y="2037"/>
                  </a:lnTo>
                  <a:lnTo>
                    <a:pt x="399" y="2038"/>
                  </a:lnTo>
                  <a:lnTo>
                    <a:pt x="388" y="2039"/>
                  </a:lnTo>
                  <a:lnTo>
                    <a:pt x="378" y="2042"/>
                  </a:lnTo>
                  <a:lnTo>
                    <a:pt x="369" y="2046"/>
                  </a:lnTo>
                  <a:lnTo>
                    <a:pt x="360" y="2050"/>
                  </a:lnTo>
                  <a:lnTo>
                    <a:pt x="351" y="2056"/>
                  </a:lnTo>
                  <a:lnTo>
                    <a:pt x="343" y="2062"/>
                  </a:lnTo>
                  <a:lnTo>
                    <a:pt x="337" y="2070"/>
                  </a:lnTo>
                  <a:lnTo>
                    <a:pt x="330" y="2078"/>
                  </a:lnTo>
                  <a:lnTo>
                    <a:pt x="325" y="2087"/>
                  </a:lnTo>
                  <a:lnTo>
                    <a:pt x="319" y="2097"/>
                  </a:lnTo>
                  <a:lnTo>
                    <a:pt x="316" y="2107"/>
                  </a:lnTo>
                  <a:lnTo>
                    <a:pt x="312" y="2118"/>
                  </a:lnTo>
                  <a:lnTo>
                    <a:pt x="310" y="2129"/>
                  </a:lnTo>
                  <a:lnTo>
                    <a:pt x="308" y="2141"/>
                  </a:lnTo>
                  <a:lnTo>
                    <a:pt x="308" y="2155"/>
                  </a:lnTo>
                  <a:lnTo>
                    <a:pt x="308" y="2155"/>
                  </a:lnTo>
                  <a:lnTo>
                    <a:pt x="308" y="2167"/>
                  </a:lnTo>
                  <a:lnTo>
                    <a:pt x="310" y="2179"/>
                  </a:lnTo>
                  <a:lnTo>
                    <a:pt x="312" y="2190"/>
                  </a:lnTo>
                  <a:lnTo>
                    <a:pt x="316" y="2201"/>
                  </a:lnTo>
                  <a:lnTo>
                    <a:pt x="319" y="2211"/>
                  </a:lnTo>
                  <a:lnTo>
                    <a:pt x="325" y="2221"/>
                  </a:lnTo>
                  <a:lnTo>
                    <a:pt x="330" y="2230"/>
                  </a:lnTo>
                  <a:lnTo>
                    <a:pt x="337" y="2238"/>
                  </a:lnTo>
                  <a:lnTo>
                    <a:pt x="343" y="2246"/>
                  </a:lnTo>
                  <a:lnTo>
                    <a:pt x="351" y="2252"/>
                  </a:lnTo>
                  <a:lnTo>
                    <a:pt x="360" y="2258"/>
                  </a:lnTo>
                  <a:lnTo>
                    <a:pt x="369" y="2262"/>
                  </a:lnTo>
                  <a:lnTo>
                    <a:pt x="378" y="2266"/>
                  </a:lnTo>
                  <a:lnTo>
                    <a:pt x="388" y="2269"/>
                  </a:lnTo>
                  <a:lnTo>
                    <a:pt x="399" y="2270"/>
                  </a:lnTo>
                  <a:lnTo>
                    <a:pt x="409" y="2271"/>
                  </a:lnTo>
                  <a:lnTo>
                    <a:pt x="409" y="2271"/>
                  </a:lnTo>
                  <a:lnTo>
                    <a:pt x="420" y="2270"/>
                  </a:lnTo>
                  <a:lnTo>
                    <a:pt x="431" y="2269"/>
                  </a:lnTo>
                  <a:lnTo>
                    <a:pt x="441" y="2266"/>
                  </a:lnTo>
                  <a:lnTo>
                    <a:pt x="450" y="2262"/>
                  </a:lnTo>
                  <a:lnTo>
                    <a:pt x="459" y="2258"/>
                  </a:lnTo>
                  <a:lnTo>
                    <a:pt x="468" y="2252"/>
                  </a:lnTo>
                  <a:lnTo>
                    <a:pt x="476" y="2246"/>
                  </a:lnTo>
                  <a:lnTo>
                    <a:pt x="482" y="2238"/>
                  </a:lnTo>
                  <a:lnTo>
                    <a:pt x="489" y="2230"/>
                  </a:lnTo>
                  <a:lnTo>
                    <a:pt x="495" y="2221"/>
                  </a:lnTo>
                  <a:lnTo>
                    <a:pt x="499" y="2211"/>
                  </a:lnTo>
                  <a:lnTo>
                    <a:pt x="504" y="2201"/>
                  </a:lnTo>
                  <a:lnTo>
                    <a:pt x="507" y="2190"/>
                  </a:lnTo>
                  <a:lnTo>
                    <a:pt x="509" y="2179"/>
                  </a:lnTo>
                  <a:lnTo>
                    <a:pt x="511" y="2167"/>
                  </a:lnTo>
                  <a:lnTo>
                    <a:pt x="511" y="2155"/>
                  </a:lnTo>
                  <a:lnTo>
                    <a:pt x="511" y="2155"/>
                  </a:lnTo>
                  <a:lnTo>
                    <a:pt x="511" y="2141"/>
                  </a:lnTo>
                  <a:lnTo>
                    <a:pt x="509" y="2129"/>
                  </a:lnTo>
                  <a:lnTo>
                    <a:pt x="507" y="2118"/>
                  </a:lnTo>
                  <a:lnTo>
                    <a:pt x="504" y="2107"/>
                  </a:lnTo>
                  <a:lnTo>
                    <a:pt x="499" y="2097"/>
                  </a:lnTo>
                  <a:lnTo>
                    <a:pt x="495" y="2087"/>
                  </a:lnTo>
                  <a:lnTo>
                    <a:pt x="489" y="2078"/>
                  </a:lnTo>
                  <a:lnTo>
                    <a:pt x="482" y="2070"/>
                  </a:lnTo>
                  <a:lnTo>
                    <a:pt x="476" y="2062"/>
                  </a:lnTo>
                  <a:lnTo>
                    <a:pt x="468" y="2056"/>
                  </a:lnTo>
                  <a:lnTo>
                    <a:pt x="459" y="2050"/>
                  </a:lnTo>
                  <a:lnTo>
                    <a:pt x="450" y="2046"/>
                  </a:lnTo>
                  <a:lnTo>
                    <a:pt x="441" y="2042"/>
                  </a:lnTo>
                  <a:lnTo>
                    <a:pt x="431" y="2039"/>
                  </a:lnTo>
                  <a:lnTo>
                    <a:pt x="420" y="2038"/>
                  </a:lnTo>
                  <a:lnTo>
                    <a:pt x="409" y="2037"/>
                  </a:lnTo>
                  <a:lnTo>
                    <a:pt x="409" y="2037"/>
                  </a:lnTo>
                  <a:close/>
                  <a:moveTo>
                    <a:pt x="409" y="2219"/>
                  </a:moveTo>
                  <a:lnTo>
                    <a:pt x="409" y="2219"/>
                  </a:lnTo>
                  <a:lnTo>
                    <a:pt x="399" y="2218"/>
                  </a:lnTo>
                  <a:lnTo>
                    <a:pt x="390" y="2215"/>
                  </a:lnTo>
                  <a:lnTo>
                    <a:pt x="383" y="2209"/>
                  </a:lnTo>
                  <a:lnTo>
                    <a:pt x="377" y="2201"/>
                  </a:lnTo>
                  <a:lnTo>
                    <a:pt x="371" y="2192"/>
                  </a:lnTo>
                  <a:lnTo>
                    <a:pt x="367" y="2181"/>
                  </a:lnTo>
                  <a:lnTo>
                    <a:pt x="365" y="2168"/>
                  </a:lnTo>
                  <a:lnTo>
                    <a:pt x="365" y="2155"/>
                  </a:lnTo>
                  <a:lnTo>
                    <a:pt x="365" y="2155"/>
                  </a:lnTo>
                  <a:lnTo>
                    <a:pt x="365" y="2140"/>
                  </a:lnTo>
                  <a:lnTo>
                    <a:pt x="367" y="2127"/>
                  </a:lnTo>
                  <a:lnTo>
                    <a:pt x="371" y="2117"/>
                  </a:lnTo>
                  <a:lnTo>
                    <a:pt x="377" y="2107"/>
                  </a:lnTo>
                  <a:lnTo>
                    <a:pt x="383" y="2099"/>
                  </a:lnTo>
                  <a:lnTo>
                    <a:pt x="390" y="2093"/>
                  </a:lnTo>
                  <a:lnTo>
                    <a:pt x="399" y="2090"/>
                  </a:lnTo>
                  <a:lnTo>
                    <a:pt x="409" y="2089"/>
                  </a:lnTo>
                  <a:lnTo>
                    <a:pt x="409" y="2089"/>
                  </a:lnTo>
                  <a:lnTo>
                    <a:pt x="419" y="2090"/>
                  </a:lnTo>
                  <a:lnTo>
                    <a:pt x="428" y="2093"/>
                  </a:lnTo>
                  <a:lnTo>
                    <a:pt x="436" y="2099"/>
                  </a:lnTo>
                  <a:lnTo>
                    <a:pt x="442" y="2107"/>
                  </a:lnTo>
                  <a:lnTo>
                    <a:pt x="448" y="2117"/>
                  </a:lnTo>
                  <a:lnTo>
                    <a:pt x="451" y="2127"/>
                  </a:lnTo>
                  <a:lnTo>
                    <a:pt x="453" y="2140"/>
                  </a:lnTo>
                  <a:lnTo>
                    <a:pt x="455" y="2155"/>
                  </a:lnTo>
                  <a:lnTo>
                    <a:pt x="455" y="2155"/>
                  </a:lnTo>
                  <a:lnTo>
                    <a:pt x="453" y="2168"/>
                  </a:lnTo>
                  <a:lnTo>
                    <a:pt x="451" y="2181"/>
                  </a:lnTo>
                  <a:lnTo>
                    <a:pt x="448" y="2192"/>
                  </a:lnTo>
                  <a:lnTo>
                    <a:pt x="442" y="2201"/>
                  </a:lnTo>
                  <a:lnTo>
                    <a:pt x="436" y="2209"/>
                  </a:lnTo>
                  <a:lnTo>
                    <a:pt x="428" y="2215"/>
                  </a:lnTo>
                  <a:lnTo>
                    <a:pt x="419" y="2218"/>
                  </a:lnTo>
                  <a:lnTo>
                    <a:pt x="409" y="2219"/>
                  </a:lnTo>
                  <a:lnTo>
                    <a:pt x="409" y="2219"/>
                  </a:lnTo>
                  <a:close/>
                  <a:moveTo>
                    <a:pt x="2285" y="2105"/>
                  </a:moveTo>
                  <a:lnTo>
                    <a:pt x="2285" y="2105"/>
                  </a:lnTo>
                  <a:lnTo>
                    <a:pt x="2276" y="2100"/>
                  </a:lnTo>
                  <a:lnTo>
                    <a:pt x="2267" y="2096"/>
                  </a:lnTo>
                  <a:lnTo>
                    <a:pt x="2257" y="2093"/>
                  </a:lnTo>
                  <a:lnTo>
                    <a:pt x="2249" y="2092"/>
                  </a:lnTo>
                  <a:lnTo>
                    <a:pt x="2249" y="2092"/>
                  </a:lnTo>
                  <a:lnTo>
                    <a:pt x="2239" y="2093"/>
                  </a:lnTo>
                  <a:lnTo>
                    <a:pt x="2231" y="2096"/>
                  </a:lnTo>
                  <a:lnTo>
                    <a:pt x="2224" y="2100"/>
                  </a:lnTo>
                  <a:lnTo>
                    <a:pt x="2219" y="2106"/>
                  </a:lnTo>
                  <a:lnTo>
                    <a:pt x="2214" y="2112"/>
                  </a:lnTo>
                  <a:lnTo>
                    <a:pt x="2211" y="2121"/>
                  </a:lnTo>
                  <a:lnTo>
                    <a:pt x="2209" y="2132"/>
                  </a:lnTo>
                  <a:lnTo>
                    <a:pt x="2209" y="2145"/>
                  </a:lnTo>
                  <a:lnTo>
                    <a:pt x="2209" y="2266"/>
                  </a:lnTo>
                  <a:lnTo>
                    <a:pt x="2153" y="2266"/>
                  </a:lnTo>
                  <a:lnTo>
                    <a:pt x="2153" y="2042"/>
                  </a:lnTo>
                  <a:lnTo>
                    <a:pt x="2209" y="2042"/>
                  </a:lnTo>
                  <a:lnTo>
                    <a:pt x="2209" y="2061"/>
                  </a:lnTo>
                  <a:lnTo>
                    <a:pt x="2209" y="2061"/>
                  </a:lnTo>
                  <a:lnTo>
                    <a:pt x="2213" y="2056"/>
                  </a:lnTo>
                  <a:lnTo>
                    <a:pt x="2219" y="2050"/>
                  </a:lnTo>
                  <a:lnTo>
                    <a:pt x="2224" y="2047"/>
                  </a:lnTo>
                  <a:lnTo>
                    <a:pt x="2231" y="2043"/>
                  </a:lnTo>
                  <a:lnTo>
                    <a:pt x="2237" y="2040"/>
                  </a:lnTo>
                  <a:lnTo>
                    <a:pt x="2244" y="2039"/>
                  </a:lnTo>
                  <a:lnTo>
                    <a:pt x="2251" y="2038"/>
                  </a:lnTo>
                  <a:lnTo>
                    <a:pt x="2257" y="2037"/>
                  </a:lnTo>
                  <a:lnTo>
                    <a:pt x="2257" y="2037"/>
                  </a:lnTo>
                  <a:lnTo>
                    <a:pt x="2269" y="2038"/>
                  </a:lnTo>
                  <a:lnTo>
                    <a:pt x="2280" y="2041"/>
                  </a:lnTo>
                  <a:lnTo>
                    <a:pt x="2291" y="2046"/>
                  </a:lnTo>
                  <a:lnTo>
                    <a:pt x="2300" y="2051"/>
                  </a:lnTo>
                  <a:lnTo>
                    <a:pt x="2285" y="2105"/>
                  </a:lnTo>
                  <a:close/>
                  <a:moveTo>
                    <a:pt x="1850" y="2042"/>
                  </a:moveTo>
                  <a:lnTo>
                    <a:pt x="1904" y="2042"/>
                  </a:lnTo>
                  <a:lnTo>
                    <a:pt x="1841" y="2266"/>
                  </a:lnTo>
                  <a:lnTo>
                    <a:pt x="1793" y="2266"/>
                  </a:lnTo>
                  <a:lnTo>
                    <a:pt x="1768" y="2174"/>
                  </a:lnTo>
                  <a:lnTo>
                    <a:pt x="1768" y="2174"/>
                  </a:lnTo>
                  <a:lnTo>
                    <a:pt x="1756" y="2125"/>
                  </a:lnTo>
                  <a:lnTo>
                    <a:pt x="1756" y="2125"/>
                  </a:lnTo>
                  <a:lnTo>
                    <a:pt x="1751" y="2148"/>
                  </a:lnTo>
                  <a:lnTo>
                    <a:pt x="1744" y="2175"/>
                  </a:lnTo>
                  <a:lnTo>
                    <a:pt x="1720" y="2266"/>
                  </a:lnTo>
                  <a:lnTo>
                    <a:pt x="1672" y="2266"/>
                  </a:lnTo>
                  <a:lnTo>
                    <a:pt x="1671" y="2265"/>
                  </a:lnTo>
                  <a:lnTo>
                    <a:pt x="1608" y="2042"/>
                  </a:lnTo>
                  <a:lnTo>
                    <a:pt x="1665" y="2042"/>
                  </a:lnTo>
                  <a:lnTo>
                    <a:pt x="1686" y="2126"/>
                  </a:lnTo>
                  <a:lnTo>
                    <a:pt x="1686" y="2126"/>
                  </a:lnTo>
                  <a:lnTo>
                    <a:pt x="1692" y="2152"/>
                  </a:lnTo>
                  <a:lnTo>
                    <a:pt x="1697" y="2180"/>
                  </a:lnTo>
                  <a:lnTo>
                    <a:pt x="1697" y="2180"/>
                  </a:lnTo>
                  <a:lnTo>
                    <a:pt x="1703" y="2152"/>
                  </a:lnTo>
                  <a:lnTo>
                    <a:pt x="1711" y="2125"/>
                  </a:lnTo>
                  <a:lnTo>
                    <a:pt x="1734" y="2042"/>
                  </a:lnTo>
                  <a:lnTo>
                    <a:pt x="1781" y="2042"/>
                  </a:lnTo>
                  <a:lnTo>
                    <a:pt x="1804" y="2125"/>
                  </a:lnTo>
                  <a:lnTo>
                    <a:pt x="1804" y="2125"/>
                  </a:lnTo>
                  <a:lnTo>
                    <a:pt x="1811" y="2151"/>
                  </a:lnTo>
                  <a:lnTo>
                    <a:pt x="1817" y="2181"/>
                  </a:lnTo>
                  <a:lnTo>
                    <a:pt x="1817" y="2181"/>
                  </a:lnTo>
                  <a:lnTo>
                    <a:pt x="1823" y="2156"/>
                  </a:lnTo>
                  <a:lnTo>
                    <a:pt x="1830" y="2125"/>
                  </a:lnTo>
                  <a:lnTo>
                    <a:pt x="1850" y="2042"/>
                  </a:lnTo>
                  <a:close/>
                  <a:moveTo>
                    <a:pt x="2016" y="2037"/>
                  </a:moveTo>
                  <a:lnTo>
                    <a:pt x="2016" y="2037"/>
                  </a:lnTo>
                  <a:lnTo>
                    <a:pt x="2006" y="2038"/>
                  </a:lnTo>
                  <a:lnTo>
                    <a:pt x="1995" y="2039"/>
                  </a:lnTo>
                  <a:lnTo>
                    <a:pt x="1985" y="2042"/>
                  </a:lnTo>
                  <a:lnTo>
                    <a:pt x="1976" y="2046"/>
                  </a:lnTo>
                  <a:lnTo>
                    <a:pt x="1967" y="2050"/>
                  </a:lnTo>
                  <a:lnTo>
                    <a:pt x="1958" y="2057"/>
                  </a:lnTo>
                  <a:lnTo>
                    <a:pt x="1951" y="2062"/>
                  </a:lnTo>
                  <a:lnTo>
                    <a:pt x="1944" y="2070"/>
                  </a:lnTo>
                  <a:lnTo>
                    <a:pt x="1937" y="2078"/>
                  </a:lnTo>
                  <a:lnTo>
                    <a:pt x="1932" y="2087"/>
                  </a:lnTo>
                  <a:lnTo>
                    <a:pt x="1926" y="2097"/>
                  </a:lnTo>
                  <a:lnTo>
                    <a:pt x="1923" y="2107"/>
                  </a:lnTo>
                  <a:lnTo>
                    <a:pt x="1920" y="2118"/>
                  </a:lnTo>
                  <a:lnTo>
                    <a:pt x="1916" y="2130"/>
                  </a:lnTo>
                  <a:lnTo>
                    <a:pt x="1915" y="2141"/>
                  </a:lnTo>
                  <a:lnTo>
                    <a:pt x="1915" y="2155"/>
                  </a:lnTo>
                  <a:lnTo>
                    <a:pt x="1915" y="2155"/>
                  </a:lnTo>
                  <a:lnTo>
                    <a:pt x="1915" y="2167"/>
                  </a:lnTo>
                  <a:lnTo>
                    <a:pt x="1916" y="2179"/>
                  </a:lnTo>
                  <a:lnTo>
                    <a:pt x="1920" y="2190"/>
                  </a:lnTo>
                  <a:lnTo>
                    <a:pt x="1923" y="2201"/>
                  </a:lnTo>
                  <a:lnTo>
                    <a:pt x="1926" y="2211"/>
                  </a:lnTo>
                  <a:lnTo>
                    <a:pt x="1932" y="2221"/>
                  </a:lnTo>
                  <a:lnTo>
                    <a:pt x="1937" y="2230"/>
                  </a:lnTo>
                  <a:lnTo>
                    <a:pt x="1944" y="2238"/>
                  </a:lnTo>
                  <a:lnTo>
                    <a:pt x="1951" y="2246"/>
                  </a:lnTo>
                  <a:lnTo>
                    <a:pt x="1958" y="2252"/>
                  </a:lnTo>
                  <a:lnTo>
                    <a:pt x="1967" y="2258"/>
                  </a:lnTo>
                  <a:lnTo>
                    <a:pt x="1976" y="2262"/>
                  </a:lnTo>
                  <a:lnTo>
                    <a:pt x="1985" y="2266"/>
                  </a:lnTo>
                  <a:lnTo>
                    <a:pt x="1995" y="2269"/>
                  </a:lnTo>
                  <a:lnTo>
                    <a:pt x="2006" y="2270"/>
                  </a:lnTo>
                  <a:lnTo>
                    <a:pt x="2016" y="2271"/>
                  </a:lnTo>
                  <a:lnTo>
                    <a:pt x="2016" y="2271"/>
                  </a:lnTo>
                  <a:lnTo>
                    <a:pt x="2027" y="2270"/>
                  </a:lnTo>
                  <a:lnTo>
                    <a:pt x="2039" y="2269"/>
                  </a:lnTo>
                  <a:lnTo>
                    <a:pt x="2049" y="2266"/>
                  </a:lnTo>
                  <a:lnTo>
                    <a:pt x="2057" y="2262"/>
                  </a:lnTo>
                  <a:lnTo>
                    <a:pt x="2066" y="2258"/>
                  </a:lnTo>
                  <a:lnTo>
                    <a:pt x="2075" y="2252"/>
                  </a:lnTo>
                  <a:lnTo>
                    <a:pt x="2083" y="2246"/>
                  </a:lnTo>
                  <a:lnTo>
                    <a:pt x="2090" y="2238"/>
                  </a:lnTo>
                  <a:lnTo>
                    <a:pt x="2096" y="2230"/>
                  </a:lnTo>
                  <a:lnTo>
                    <a:pt x="2102" y="2221"/>
                  </a:lnTo>
                  <a:lnTo>
                    <a:pt x="2106" y="2211"/>
                  </a:lnTo>
                  <a:lnTo>
                    <a:pt x="2111" y="2201"/>
                  </a:lnTo>
                  <a:lnTo>
                    <a:pt x="2114" y="2190"/>
                  </a:lnTo>
                  <a:lnTo>
                    <a:pt x="2116" y="2179"/>
                  </a:lnTo>
                  <a:lnTo>
                    <a:pt x="2119" y="2167"/>
                  </a:lnTo>
                  <a:lnTo>
                    <a:pt x="2119" y="2155"/>
                  </a:lnTo>
                  <a:lnTo>
                    <a:pt x="2119" y="2155"/>
                  </a:lnTo>
                  <a:lnTo>
                    <a:pt x="2119" y="2141"/>
                  </a:lnTo>
                  <a:lnTo>
                    <a:pt x="2116" y="2130"/>
                  </a:lnTo>
                  <a:lnTo>
                    <a:pt x="2114" y="2118"/>
                  </a:lnTo>
                  <a:lnTo>
                    <a:pt x="2111" y="2107"/>
                  </a:lnTo>
                  <a:lnTo>
                    <a:pt x="2106" y="2097"/>
                  </a:lnTo>
                  <a:lnTo>
                    <a:pt x="2102" y="2087"/>
                  </a:lnTo>
                  <a:lnTo>
                    <a:pt x="2096" y="2078"/>
                  </a:lnTo>
                  <a:lnTo>
                    <a:pt x="2090" y="2070"/>
                  </a:lnTo>
                  <a:lnTo>
                    <a:pt x="2083" y="2062"/>
                  </a:lnTo>
                  <a:lnTo>
                    <a:pt x="2075" y="2057"/>
                  </a:lnTo>
                  <a:lnTo>
                    <a:pt x="2066" y="2050"/>
                  </a:lnTo>
                  <a:lnTo>
                    <a:pt x="2057" y="2046"/>
                  </a:lnTo>
                  <a:lnTo>
                    <a:pt x="2049" y="2042"/>
                  </a:lnTo>
                  <a:lnTo>
                    <a:pt x="2039" y="2039"/>
                  </a:lnTo>
                  <a:lnTo>
                    <a:pt x="2027" y="2038"/>
                  </a:lnTo>
                  <a:lnTo>
                    <a:pt x="2016" y="2037"/>
                  </a:lnTo>
                  <a:lnTo>
                    <a:pt x="2016" y="2037"/>
                  </a:lnTo>
                  <a:close/>
                  <a:moveTo>
                    <a:pt x="2016" y="2219"/>
                  </a:moveTo>
                  <a:lnTo>
                    <a:pt x="2016" y="2219"/>
                  </a:lnTo>
                  <a:lnTo>
                    <a:pt x="2006" y="2218"/>
                  </a:lnTo>
                  <a:lnTo>
                    <a:pt x="1998" y="2215"/>
                  </a:lnTo>
                  <a:lnTo>
                    <a:pt x="1991" y="2209"/>
                  </a:lnTo>
                  <a:lnTo>
                    <a:pt x="1984" y="2201"/>
                  </a:lnTo>
                  <a:lnTo>
                    <a:pt x="1978" y="2192"/>
                  </a:lnTo>
                  <a:lnTo>
                    <a:pt x="1974" y="2181"/>
                  </a:lnTo>
                  <a:lnTo>
                    <a:pt x="1972" y="2168"/>
                  </a:lnTo>
                  <a:lnTo>
                    <a:pt x="1972" y="2155"/>
                  </a:lnTo>
                  <a:lnTo>
                    <a:pt x="1972" y="2155"/>
                  </a:lnTo>
                  <a:lnTo>
                    <a:pt x="1972" y="2140"/>
                  </a:lnTo>
                  <a:lnTo>
                    <a:pt x="1974" y="2128"/>
                  </a:lnTo>
                  <a:lnTo>
                    <a:pt x="1978" y="2117"/>
                  </a:lnTo>
                  <a:lnTo>
                    <a:pt x="1984" y="2107"/>
                  </a:lnTo>
                  <a:lnTo>
                    <a:pt x="1991" y="2099"/>
                  </a:lnTo>
                  <a:lnTo>
                    <a:pt x="1998" y="2093"/>
                  </a:lnTo>
                  <a:lnTo>
                    <a:pt x="2006" y="2090"/>
                  </a:lnTo>
                  <a:lnTo>
                    <a:pt x="2016" y="2089"/>
                  </a:lnTo>
                  <a:lnTo>
                    <a:pt x="2016" y="2089"/>
                  </a:lnTo>
                  <a:lnTo>
                    <a:pt x="2026" y="2090"/>
                  </a:lnTo>
                  <a:lnTo>
                    <a:pt x="2035" y="2093"/>
                  </a:lnTo>
                  <a:lnTo>
                    <a:pt x="2043" y="2099"/>
                  </a:lnTo>
                  <a:lnTo>
                    <a:pt x="2050" y="2107"/>
                  </a:lnTo>
                  <a:lnTo>
                    <a:pt x="2055" y="2117"/>
                  </a:lnTo>
                  <a:lnTo>
                    <a:pt x="2059" y="2128"/>
                  </a:lnTo>
                  <a:lnTo>
                    <a:pt x="2061" y="2140"/>
                  </a:lnTo>
                  <a:lnTo>
                    <a:pt x="2062" y="2155"/>
                  </a:lnTo>
                  <a:lnTo>
                    <a:pt x="2062" y="2155"/>
                  </a:lnTo>
                  <a:lnTo>
                    <a:pt x="2061" y="2168"/>
                  </a:lnTo>
                  <a:lnTo>
                    <a:pt x="2059" y="2181"/>
                  </a:lnTo>
                  <a:lnTo>
                    <a:pt x="2055" y="2192"/>
                  </a:lnTo>
                  <a:lnTo>
                    <a:pt x="2050" y="2201"/>
                  </a:lnTo>
                  <a:lnTo>
                    <a:pt x="2043" y="2209"/>
                  </a:lnTo>
                  <a:lnTo>
                    <a:pt x="2035" y="2215"/>
                  </a:lnTo>
                  <a:lnTo>
                    <a:pt x="2026" y="2218"/>
                  </a:lnTo>
                  <a:lnTo>
                    <a:pt x="2016" y="2219"/>
                  </a:lnTo>
                  <a:lnTo>
                    <a:pt x="2016" y="2219"/>
                  </a:lnTo>
                  <a:close/>
                  <a:moveTo>
                    <a:pt x="843" y="2116"/>
                  </a:moveTo>
                  <a:lnTo>
                    <a:pt x="910" y="2266"/>
                  </a:lnTo>
                  <a:lnTo>
                    <a:pt x="849" y="2266"/>
                  </a:lnTo>
                  <a:lnTo>
                    <a:pt x="803" y="2162"/>
                  </a:lnTo>
                  <a:lnTo>
                    <a:pt x="772" y="2199"/>
                  </a:lnTo>
                  <a:lnTo>
                    <a:pt x="772" y="2266"/>
                  </a:lnTo>
                  <a:lnTo>
                    <a:pt x="718" y="2266"/>
                  </a:lnTo>
                  <a:lnTo>
                    <a:pt x="718" y="1977"/>
                  </a:lnTo>
                  <a:lnTo>
                    <a:pt x="772" y="1949"/>
                  </a:lnTo>
                  <a:lnTo>
                    <a:pt x="772" y="2128"/>
                  </a:lnTo>
                  <a:lnTo>
                    <a:pt x="772" y="2128"/>
                  </a:lnTo>
                  <a:lnTo>
                    <a:pt x="794" y="2099"/>
                  </a:lnTo>
                  <a:lnTo>
                    <a:pt x="838" y="2042"/>
                  </a:lnTo>
                  <a:lnTo>
                    <a:pt x="903" y="2042"/>
                  </a:lnTo>
                  <a:lnTo>
                    <a:pt x="843" y="2116"/>
                  </a:lnTo>
                  <a:close/>
                  <a:moveTo>
                    <a:pt x="1105" y="2266"/>
                  </a:moveTo>
                  <a:lnTo>
                    <a:pt x="1049" y="2266"/>
                  </a:lnTo>
                  <a:lnTo>
                    <a:pt x="1049" y="2042"/>
                  </a:lnTo>
                  <a:lnTo>
                    <a:pt x="1105" y="2042"/>
                  </a:lnTo>
                  <a:lnTo>
                    <a:pt x="1105" y="2061"/>
                  </a:lnTo>
                  <a:lnTo>
                    <a:pt x="1105" y="2061"/>
                  </a:lnTo>
                  <a:lnTo>
                    <a:pt x="1110" y="2056"/>
                  </a:lnTo>
                  <a:lnTo>
                    <a:pt x="1116" y="2051"/>
                  </a:lnTo>
                  <a:lnTo>
                    <a:pt x="1123" y="2047"/>
                  </a:lnTo>
                  <a:lnTo>
                    <a:pt x="1129" y="2043"/>
                  </a:lnTo>
                  <a:lnTo>
                    <a:pt x="1137" y="2041"/>
                  </a:lnTo>
                  <a:lnTo>
                    <a:pt x="1145" y="2039"/>
                  </a:lnTo>
                  <a:lnTo>
                    <a:pt x="1153" y="2038"/>
                  </a:lnTo>
                  <a:lnTo>
                    <a:pt x="1162" y="2037"/>
                  </a:lnTo>
                  <a:lnTo>
                    <a:pt x="1162" y="2037"/>
                  </a:lnTo>
                  <a:lnTo>
                    <a:pt x="1172" y="2038"/>
                  </a:lnTo>
                  <a:lnTo>
                    <a:pt x="1180" y="2039"/>
                  </a:lnTo>
                  <a:lnTo>
                    <a:pt x="1188" y="2041"/>
                  </a:lnTo>
                  <a:lnTo>
                    <a:pt x="1197" y="2043"/>
                  </a:lnTo>
                  <a:lnTo>
                    <a:pt x="1204" y="2048"/>
                  </a:lnTo>
                  <a:lnTo>
                    <a:pt x="1210" y="2052"/>
                  </a:lnTo>
                  <a:lnTo>
                    <a:pt x="1217" y="2057"/>
                  </a:lnTo>
                  <a:lnTo>
                    <a:pt x="1223" y="2063"/>
                  </a:lnTo>
                  <a:lnTo>
                    <a:pt x="1227" y="2070"/>
                  </a:lnTo>
                  <a:lnTo>
                    <a:pt x="1232" y="2078"/>
                  </a:lnTo>
                  <a:lnTo>
                    <a:pt x="1235" y="2086"/>
                  </a:lnTo>
                  <a:lnTo>
                    <a:pt x="1238" y="2096"/>
                  </a:lnTo>
                  <a:lnTo>
                    <a:pt x="1240" y="2106"/>
                  </a:lnTo>
                  <a:lnTo>
                    <a:pt x="1242" y="2116"/>
                  </a:lnTo>
                  <a:lnTo>
                    <a:pt x="1243" y="2127"/>
                  </a:lnTo>
                  <a:lnTo>
                    <a:pt x="1244" y="2139"/>
                  </a:lnTo>
                  <a:lnTo>
                    <a:pt x="1244" y="2266"/>
                  </a:lnTo>
                  <a:lnTo>
                    <a:pt x="1188" y="2266"/>
                  </a:lnTo>
                  <a:lnTo>
                    <a:pt x="1188" y="2142"/>
                  </a:lnTo>
                  <a:lnTo>
                    <a:pt x="1188" y="2142"/>
                  </a:lnTo>
                  <a:lnTo>
                    <a:pt x="1187" y="2130"/>
                  </a:lnTo>
                  <a:lnTo>
                    <a:pt x="1186" y="2118"/>
                  </a:lnTo>
                  <a:lnTo>
                    <a:pt x="1183" y="2109"/>
                  </a:lnTo>
                  <a:lnTo>
                    <a:pt x="1178" y="2101"/>
                  </a:lnTo>
                  <a:lnTo>
                    <a:pt x="1173" y="2096"/>
                  </a:lnTo>
                  <a:lnTo>
                    <a:pt x="1166" y="2091"/>
                  </a:lnTo>
                  <a:lnTo>
                    <a:pt x="1157" y="2089"/>
                  </a:lnTo>
                  <a:lnTo>
                    <a:pt x="1147" y="2088"/>
                  </a:lnTo>
                  <a:lnTo>
                    <a:pt x="1147" y="2088"/>
                  </a:lnTo>
                  <a:lnTo>
                    <a:pt x="1138" y="2089"/>
                  </a:lnTo>
                  <a:lnTo>
                    <a:pt x="1129" y="2091"/>
                  </a:lnTo>
                  <a:lnTo>
                    <a:pt x="1122" y="2096"/>
                  </a:lnTo>
                  <a:lnTo>
                    <a:pt x="1116" y="2102"/>
                  </a:lnTo>
                  <a:lnTo>
                    <a:pt x="1112" y="2109"/>
                  </a:lnTo>
                  <a:lnTo>
                    <a:pt x="1108" y="2119"/>
                  </a:lnTo>
                  <a:lnTo>
                    <a:pt x="1106" y="2130"/>
                  </a:lnTo>
                  <a:lnTo>
                    <a:pt x="1105" y="2142"/>
                  </a:lnTo>
                  <a:lnTo>
                    <a:pt x="1105" y="2266"/>
                  </a:lnTo>
                  <a:close/>
                  <a:moveTo>
                    <a:pt x="1418" y="2058"/>
                  </a:moveTo>
                  <a:lnTo>
                    <a:pt x="1418" y="2058"/>
                  </a:lnTo>
                  <a:lnTo>
                    <a:pt x="1413" y="2053"/>
                  </a:lnTo>
                  <a:lnTo>
                    <a:pt x="1407" y="2049"/>
                  </a:lnTo>
                  <a:lnTo>
                    <a:pt x="1402" y="2046"/>
                  </a:lnTo>
                  <a:lnTo>
                    <a:pt x="1395" y="2042"/>
                  </a:lnTo>
                  <a:lnTo>
                    <a:pt x="1388" y="2040"/>
                  </a:lnTo>
                  <a:lnTo>
                    <a:pt x="1382" y="2039"/>
                  </a:lnTo>
                  <a:lnTo>
                    <a:pt x="1375" y="2038"/>
                  </a:lnTo>
                  <a:lnTo>
                    <a:pt x="1368" y="2037"/>
                  </a:lnTo>
                  <a:lnTo>
                    <a:pt x="1368" y="2037"/>
                  </a:lnTo>
                  <a:lnTo>
                    <a:pt x="1358" y="2038"/>
                  </a:lnTo>
                  <a:lnTo>
                    <a:pt x="1349" y="2039"/>
                  </a:lnTo>
                  <a:lnTo>
                    <a:pt x="1340" y="2041"/>
                  </a:lnTo>
                  <a:lnTo>
                    <a:pt x="1332" y="2046"/>
                  </a:lnTo>
                  <a:lnTo>
                    <a:pt x="1324" y="2049"/>
                  </a:lnTo>
                  <a:lnTo>
                    <a:pt x="1317" y="2055"/>
                  </a:lnTo>
                  <a:lnTo>
                    <a:pt x="1310" y="2061"/>
                  </a:lnTo>
                  <a:lnTo>
                    <a:pt x="1304" y="2068"/>
                  </a:lnTo>
                  <a:lnTo>
                    <a:pt x="1298" y="2076"/>
                  </a:lnTo>
                  <a:lnTo>
                    <a:pt x="1294" y="2085"/>
                  </a:lnTo>
                  <a:lnTo>
                    <a:pt x="1289" y="2093"/>
                  </a:lnTo>
                  <a:lnTo>
                    <a:pt x="1286" y="2105"/>
                  </a:lnTo>
                  <a:lnTo>
                    <a:pt x="1284" y="2115"/>
                  </a:lnTo>
                  <a:lnTo>
                    <a:pt x="1282" y="2127"/>
                  </a:lnTo>
                  <a:lnTo>
                    <a:pt x="1280" y="2139"/>
                  </a:lnTo>
                  <a:lnTo>
                    <a:pt x="1280" y="2151"/>
                  </a:lnTo>
                  <a:lnTo>
                    <a:pt x="1280" y="2151"/>
                  </a:lnTo>
                  <a:lnTo>
                    <a:pt x="1280" y="2166"/>
                  </a:lnTo>
                  <a:lnTo>
                    <a:pt x="1282" y="2178"/>
                  </a:lnTo>
                  <a:lnTo>
                    <a:pt x="1284" y="2190"/>
                  </a:lnTo>
                  <a:lnTo>
                    <a:pt x="1286" y="2202"/>
                  </a:lnTo>
                  <a:lnTo>
                    <a:pt x="1289" y="2212"/>
                  </a:lnTo>
                  <a:lnTo>
                    <a:pt x="1294" y="2222"/>
                  </a:lnTo>
                  <a:lnTo>
                    <a:pt x="1298" y="2231"/>
                  </a:lnTo>
                  <a:lnTo>
                    <a:pt x="1304" y="2239"/>
                  </a:lnTo>
                  <a:lnTo>
                    <a:pt x="1309" y="2247"/>
                  </a:lnTo>
                  <a:lnTo>
                    <a:pt x="1316" y="2252"/>
                  </a:lnTo>
                  <a:lnTo>
                    <a:pt x="1323" y="2258"/>
                  </a:lnTo>
                  <a:lnTo>
                    <a:pt x="1330" y="2262"/>
                  </a:lnTo>
                  <a:lnTo>
                    <a:pt x="1339" y="2266"/>
                  </a:lnTo>
                  <a:lnTo>
                    <a:pt x="1348" y="2269"/>
                  </a:lnTo>
                  <a:lnTo>
                    <a:pt x="1357" y="2270"/>
                  </a:lnTo>
                  <a:lnTo>
                    <a:pt x="1367" y="2271"/>
                  </a:lnTo>
                  <a:lnTo>
                    <a:pt x="1367" y="2271"/>
                  </a:lnTo>
                  <a:lnTo>
                    <a:pt x="1374" y="2270"/>
                  </a:lnTo>
                  <a:lnTo>
                    <a:pt x="1382" y="2269"/>
                  </a:lnTo>
                  <a:lnTo>
                    <a:pt x="1388" y="2268"/>
                  </a:lnTo>
                  <a:lnTo>
                    <a:pt x="1395" y="2266"/>
                  </a:lnTo>
                  <a:lnTo>
                    <a:pt x="1401" y="2262"/>
                  </a:lnTo>
                  <a:lnTo>
                    <a:pt x="1407" y="2259"/>
                  </a:lnTo>
                  <a:lnTo>
                    <a:pt x="1413" y="2255"/>
                  </a:lnTo>
                  <a:lnTo>
                    <a:pt x="1418" y="2249"/>
                  </a:lnTo>
                  <a:lnTo>
                    <a:pt x="1418" y="2255"/>
                  </a:lnTo>
                  <a:lnTo>
                    <a:pt x="1418" y="2255"/>
                  </a:lnTo>
                  <a:lnTo>
                    <a:pt x="1418" y="2264"/>
                  </a:lnTo>
                  <a:lnTo>
                    <a:pt x="1417" y="2274"/>
                  </a:lnTo>
                  <a:lnTo>
                    <a:pt x="1414" y="2284"/>
                  </a:lnTo>
                  <a:lnTo>
                    <a:pt x="1412" y="2288"/>
                  </a:lnTo>
                  <a:lnTo>
                    <a:pt x="1409" y="2293"/>
                  </a:lnTo>
                  <a:lnTo>
                    <a:pt x="1405" y="2297"/>
                  </a:lnTo>
                  <a:lnTo>
                    <a:pt x="1401" y="2301"/>
                  </a:lnTo>
                  <a:lnTo>
                    <a:pt x="1395" y="2305"/>
                  </a:lnTo>
                  <a:lnTo>
                    <a:pt x="1388" y="2308"/>
                  </a:lnTo>
                  <a:lnTo>
                    <a:pt x="1379" y="2310"/>
                  </a:lnTo>
                  <a:lnTo>
                    <a:pt x="1370" y="2313"/>
                  </a:lnTo>
                  <a:lnTo>
                    <a:pt x="1359" y="2314"/>
                  </a:lnTo>
                  <a:lnTo>
                    <a:pt x="1346" y="2314"/>
                  </a:lnTo>
                  <a:lnTo>
                    <a:pt x="1344" y="2314"/>
                  </a:lnTo>
                  <a:lnTo>
                    <a:pt x="1364" y="2357"/>
                  </a:lnTo>
                  <a:lnTo>
                    <a:pt x="1365" y="2357"/>
                  </a:lnTo>
                  <a:lnTo>
                    <a:pt x="1365" y="2357"/>
                  </a:lnTo>
                  <a:lnTo>
                    <a:pt x="1378" y="2357"/>
                  </a:lnTo>
                  <a:lnTo>
                    <a:pt x="1390" y="2356"/>
                  </a:lnTo>
                  <a:lnTo>
                    <a:pt x="1402" y="2353"/>
                  </a:lnTo>
                  <a:lnTo>
                    <a:pt x="1413" y="2350"/>
                  </a:lnTo>
                  <a:lnTo>
                    <a:pt x="1423" y="2346"/>
                  </a:lnTo>
                  <a:lnTo>
                    <a:pt x="1432" y="2341"/>
                  </a:lnTo>
                  <a:lnTo>
                    <a:pt x="1439" y="2336"/>
                  </a:lnTo>
                  <a:lnTo>
                    <a:pt x="1446" y="2329"/>
                  </a:lnTo>
                  <a:lnTo>
                    <a:pt x="1453" y="2321"/>
                  </a:lnTo>
                  <a:lnTo>
                    <a:pt x="1458" y="2314"/>
                  </a:lnTo>
                  <a:lnTo>
                    <a:pt x="1463" y="2304"/>
                  </a:lnTo>
                  <a:lnTo>
                    <a:pt x="1466" y="2294"/>
                  </a:lnTo>
                  <a:lnTo>
                    <a:pt x="1469" y="2284"/>
                  </a:lnTo>
                  <a:lnTo>
                    <a:pt x="1472" y="2271"/>
                  </a:lnTo>
                  <a:lnTo>
                    <a:pt x="1473" y="2259"/>
                  </a:lnTo>
                  <a:lnTo>
                    <a:pt x="1473" y="2246"/>
                  </a:lnTo>
                  <a:lnTo>
                    <a:pt x="1473" y="2042"/>
                  </a:lnTo>
                  <a:lnTo>
                    <a:pt x="1418" y="2042"/>
                  </a:lnTo>
                  <a:lnTo>
                    <a:pt x="1418" y="2058"/>
                  </a:lnTo>
                  <a:close/>
                  <a:moveTo>
                    <a:pt x="1418" y="2110"/>
                  </a:moveTo>
                  <a:lnTo>
                    <a:pt x="1418" y="2198"/>
                  </a:lnTo>
                  <a:lnTo>
                    <a:pt x="1418" y="2198"/>
                  </a:lnTo>
                  <a:lnTo>
                    <a:pt x="1411" y="2206"/>
                  </a:lnTo>
                  <a:lnTo>
                    <a:pt x="1403" y="2214"/>
                  </a:lnTo>
                  <a:lnTo>
                    <a:pt x="1397" y="2216"/>
                  </a:lnTo>
                  <a:lnTo>
                    <a:pt x="1392" y="2218"/>
                  </a:lnTo>
                  <a:lnTo>
                    <a:pt x="1386" y="2219"/>
                  </a:lnTo>
                  <a:lnTo>
                    <a:pt x="1378" y="2220"/>
                  </a:lnTo>
                  <a:lnTo>
                    <a:pt x="1378" y="2220"/>
                  </a:lnTo>
                  <a:lnTo>
                    <a:pt x="1372" y="2219"/>
                  </a:lnTo>
                  <a:lnTo>
                    <a:pt x="1364" y="2217"/>
                  </a:lnTo>
                  <a:lnTo>
                    <a:pt x="1357" y="2214"/>
                  </a:lnTo>
                  <a:lnTo>
                    <a:pt x="1350" y="2207"/>
                  </a:lnTo>
                  <a:lnTo>
                    <a:pt x="1345" y="2198"/>
                  </a:lnTo>
                  <a:lnTo>
                    <a:pt x="1340" y="2186"/>
                  </a:lnTo>
                  <a:lnTo>
                    <a:pt x="1338" y="2170"/>
                  </a:lnTo>
                  <a:lnTo>
                    <a:pt x="1337" y="2150"/>
                  </a:lnTo>
                  <a:lnTo>
                    <a:pt x="1337" y="2150"/>
                  </a:lnTo>
                  <a:lnTo>
                    <a:pt x="1338" y="2133"/>
                  </a:lnTo>
                  <a:lnTo>
                    <a:pt x="1340" y="2119"/>
                  </a:lnTo>
                  <a:lnTo>
                    <a:pt x="1345" y="2108"/>
                  </a:lnTo>
                  <a:lnTo>
                    <a:pt x="1350" y="2100"/>
                  </a:lnTo>
                  <a:lnTo>
                    <a:pt x="1357" y="2095"/>
                  </a:lnTo>
                  <a:lnTo>
                    <a:pt x="1364" y="2090"/>
                  </a:lnTo>
                  <a:lnTo>
                    <a:pt x="1372" y="2089"/>
                  </a:lnTo>
                  <a:lnTo>
                    <a:pt x="1378" y="2088"/>
                  </a:lnTo>
                  <a:lnTo>
                    <a:pt x="1378" y="2088"/>
                  </a:lnTo>
                  <a:lnTo>
                    <a:pt x="1386" y="2089"/>
                  </a:lnTo>
                  <a:lnTo>
                    <a:pt x="1393" y="2090"/>
                  </a:lnTo>
                  <a:lnTo>
                    <a:pt x="1398" y="2092"/>
                  </a:lnTo>
                  <a:lnTo>
                    <a:pt x="1404" y="2096"/>
                  </a:lnTo>
                  <a:lnTo>
                    <a:pt x="1408" y="2099"/>
                  </a:lnTo>
                  <a:lnTo>
                    <a:pt x="1412" y="2102"/>
                  </a:lnTo>
                  <a:lnTo>
                    <a:pt x="1418" y="2110"/>
                  </a:lnTo>
                  <a:lnTo>
                    <a:pt x="1418" y="2110"/>
                  </a:lnTo>
                  <a:close/>
                  <a:moveTo>
                    <a:pt x="945" y="2042"/>
                  </a:moveTo>
                  <a:lnTo>
                    <a:pt x="1000" y="2042"/>
                  </a:lnTo>
                  <a:lnTo>
                    <a:pt x="1000" y="2139"/>
                  </a:lnTo>
                  <a:lnTo>
                    <a:pt x="1000" y="2266"/>
                  </a:lnTo>
                  <a:lnTo>
                    <a:pt x="945" y="2266"/>
                  </a:lnTo>
                  <a:lnTo>
                    <a:pt x="945" y="2042"/>
                  </a:lnTo>
                  <a:close/>
                  <a:moveTo>
                    <a:pt x="1000" y="1982"/>
                  </a:moveTo>
                  <a:lnTo>
                    <a:pt x="1000" y="2010"/>
                  </a:lnTo>
                  <a:lnTo>
                    <a:pt x="945" y="2010"/>
                  </a:lnTo>
                  <a:lnTo>
                    <a:pt x="945" y="1954"/>
                  </a:lnTo>
                  <a:lnTo>
                    <a:pt x="1000" y="1954"/>
                  </a:lnTo>
                  <a:lnTo>
                    <a:pt x="1000" y="1982"/>
                  </a:lnTo>
                  <a:close/>
                  <a:moveTo>
                    <a:pt x="2325" y="1977"/>
                  </a:moveTo>
                  <a:lnTo>
                    <a:pt x="2381" y="1949"/>
                  </a:lnTo>
                  <a:lnTo>
                    <a:pt x="2381" y="2144"/>
                  </a:lnTo>
                  <a:lnTo>
                    <a:pt x="2381" y="2266"/>
                  </a:lnTo>
                  <a:lnTo>
                    <a:pt x="2325" y="2266"/>
                  </a:lnTo>
                  <a:lnTo>
                    <a:pt x="2325" y="1977"/>
                  </a:lnTo>
                  <a:close/>
                  <a:moveTo>
                    <a:pt x="400" y="762"/>
                  </a:moveTo>
                  <a:lnTo>
                    <a:pt x="856" y="762"/>
                  </a:lnTo>
                  <a:lnTo>
                    <a:pt x="856" y="498"/>
                  </a:lnTo>
                  <a:lnTo>
                    <a:pt x="400" y="498"/>
                  </a:lnTo>
                  <a:lnTo>
                    <a:pt x="400" y="290"/>
                  </a:lnTo>
                  <a:lnTo>
                    <a:pt x="905" y="290"/>
                  </a:lnTo>
                  <a:lnTo>
                    <a:pt x="737" y="0"/>
                  </a:lnTo>
                  <a:lnTo>
                    <a:pt x="22" y="0"/>
                  </a:lnTo>
                  <a:lnTo>
                    <a:pt x="22" y="1261"/>
                  </a:lnTo>
                  <a:lnTo>
                    <a:pt x="1030" y="1261"/>
                  </a:lnTo>
                  <a:lnTo>
                    <a:pt x="1030" y="970"/>
                  </a:lnTo>
                  <a:lnTo>
                    <a:pt x="400" y="970"/>
                  </a:lnTo>
                  <a:lnTo>
                    <a:pt x="400" y="762"/>
                  </a:lnTo>
                  <a:close/>
                  <a:moveTo>
                    <a:pt x="1702" y="0"/>
                  </a:moveTo>
                  <a:lnTo>
                    <a:pt x="1487" y="411"/>
                  </a:lnTo>
                  <a:lnTo>
                    <a:pt x="1274" y="0"/>
                  </a:lnTo>
                  <a:lnTo>
                    <a:pt x="856" y="0"/>
                  </a:lnTo>
                  <a:lnTo>
                    <a:pt x="1296" y="762"/>
                  </a:lnTo>
                  <a:lnTo>
                    <a:pt x="1296" y="1261"/>
                  </a:lnTo>
                  <a:lnTo>
                    <a:pt x="1673" y="1261"/>
                  </a:lnTo>
                  <a:lnTo>
                    <a:pt x="1673" y="762"/>
                  </a:lnTo>
                  <a:lnTo>
                    <a:pt x="2114" y="0"/>
                  </a:lnTo>
                  <a:lnTo>
                    <a:pt x="1702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</p:spTree>
    <p:extLst>
      <p:ext uri="{BB962C8B-B14F-4D97-AF65-F5344CB8AC3E}">
        <p14:creationId xmlns:p14="http://schemas.microsoft.com/office/powerpoint/2010/main" val="1962393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Logo Government of Western Australia Department of Communities">
            <a:extLst>
              <a:ext uri="{FF2B5EF4-FFF2-40B4-BE49-F238E27FC236}">
                <a16:creationId xmlns:a16="http://schemas.microsoft.com/office/drawing/2014/main" id="{DD261930-4699-47CD-81C4-E82B5D64E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201" y="571097"/>
            <a:ext cx="4370809" cy="7474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8001" y="2207358"/>
            <a:ext cx="7812059" cy="1822629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56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3" y="4187359"/>
            <a:ext cx="6891683" cy="17813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667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 algn="ctr">
              <a:buNone/>
              <a:defRPr sz="2667"/>
            </a:lvl2pPr>
            <a:lvl3pPr marL="1219108" indent="0" algn="ctr">
              <a:buNone/>
              <a:defRPr sz="2400"/>
            </a:lvl3pPr>
            <a:lvl4pPr marL="1828664" indent="0" algn="ctr">
              <a:buNone/>
              <a:defRPr sz="2133"/>
            </a:lvl4pPr>
            <a:lvl5pPr marL="2438218" indent="0" algn="ctr">
              <a:buNone/>
              <a:defRPr sz="2133"/>
            </a:lvl5pPr>
            <a:lvl6pPr marL="3047772" indent="0" algn="ctr">
              <a:buNone/>
              <a:defRPr sz="2133"/>
            </a:lvl6pPr>
            <a:lvl7pPr marL="3657325" indent="0" algn="ctr">
              <a:buNone/>
              <a:defRPr sz="2133"/>
            </a:lvl7pPr>
            <a:lvl8pPr marL="4266880" indent="0" algn="ctr">
              <a:buNone/>
              <a:defRPr sz="2133"/>
            </a:lvl8pPr>
            <a:lvl9pPr marL="4876435" indent="0" algn="ctr">
              <a:buNone/>
              <a:defRPr sz="2133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Graphic 6" descr="Artifact">
            <a:extLst>
              <a:ext uri="{FF2B5EF4-FFF2-40B4-BE49-F238E27FC236}">
                <a16:creationId xmlns:a16="http://schemas.microsoft.com/office/drawing/2014/main" id="{9939472B-CAAC-41A5-A2F3-5176B4B563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13340" b="1"/>
          <a:stretch/>
        </p:blipFill>
        <p:spPr>
          <a:xfrm>
            <a:off x="6219712" y="4744605"/>
            <a:ext cx="5972288" cy="2113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3553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6" descr="Artifact">
            <a:extLst>
              <a:ext uri="{FF2B5EF4-FFF2-40B4-BE49-F238E27FC236}">
                <a16:creationId xmlns:a16="http://schemas.microsoft.com/office/drawing/2014/main" id="{C62D4D0F-E12E-4406-B6D1-1A12000526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13340" b="1"/>
          <a:stretch/>
        </p:blipFill>
        <p:spPr>
          <a:xfrm>
            <a:off x="6219712" y="4751458"/>
            <a:ext cx="5972288" cy="2113396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48003" y="4187359"/>
            <a:ext cx="6891683" cy="17813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667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 algn="ctr">
              <a:buNone/>
              <a:defRPr sz="2667"/>
            </a:lvl2pPr>
            <a:lvl3pPr marL="1219108" indent="0" algn="ctr">
              <a:buNone/>
              <a:defRPr sz="2400"/>
            </a:lvl3pPr>
            <a:lvl4pPr marL="1828664" indent="0" algn="ctr">
              <a:buNone/>
              <a:defRPr sz="2133"/>
            </a:lvl4pPr>
            <a:lvl5pPr marL="2438218" indent="0" algn="ctr">
              <a:buNone/>
              <a:defRPr sz="2133"/>
            </a:lvl5pPr>
            <a:lvl6pPr marL="3047772" indent="0" algn="ctr">
              <a:buNone/>
              <a:defRPr sz="2133"/>
            </a:lvl6pPr>
            <a:lvl7pPr marL="3657325" indent="0" algn="ctr">
              <a:buNone/>
              <a:defRPr sz="2133"/>
            </a:lvl7pPr>
            <a:lvl8pPr marL="4266880" indent="0" algn="ctr">
              <a:buNone/>
              <a:defRPr sz="2133"/>
            </a:lvl8pPr>
            <a:lvl9pPr marL="4876435" indent="0" algn="ctr">
              <a:buNone/>
              <a:defRPr sz="2133"/>
            </a:lvl9pPr>
          </a:lstStyle>
          <a:p>
            <a:r>
              <a:rPr lang="en-US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48001" y="2207358"/>
            <a:ext cx="7812059" cy="1822629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5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ction he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27160F-49DA-461F-9894-FFFC35FECC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EC7AE4-05DB-4CD8-99A2-70C1B8ABB88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C2F6125-37A2-44E8-9961-225F34323BC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AU"/>
              <a:t>Department of Communities</a:t>
            </a:r>
          </a:p>
        </p:txBody>
      </p:sp>
    </p:spTree>
    <p:extLst>
      <p:ext uri="{BB962C8B-B14F-4D97-AF65-F5344CB8AC3E}">
        <p14:creationId xmlns:p14="http://schemas.microsoft.com/office/powerpoint/2010/main" val="21019813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999" y="351259"/>
            <a:ext cx="10895999" cy="12328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267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8000" y="1825625"/>
            <a:ext cx="10896000" cy="43513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32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133440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742995" indent="-304778">
              <a:lnSpc>
                <a:spcPct val="120000"/>
              </a:lnSpc>
              <a:buFont typeface="Arial" panose="020B0604020202020204" pitchFamily="34" charset="0"/>
              <a:buChar char="»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1ABE9E-00FF-4075-BDBD-AB0D4ECFA8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Department of Communiti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46A1C6-CC8A-4BBE-8CE9-2EB643AB18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EC7AE4-05DB-4CD8-99A2-70C1B8ABB88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74327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50401"/>
            <a:ext cx="10896000" cy="123280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267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8000" y="1825625"/>
            <a:ext cx="5376000" cy="43513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32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133440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742995" indent="-304778">
              <a:lnSpc>
                <a:spcPct val="120000"/>
              </a:lnSpc>
              <a:buFont typeface="Arial" panose="020B0604020202020204" pitchFamily="34" charset="0"/>
              <a:buChar char="»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800" y="1825625"/>
            <a:ext cx="5376000" cy="43513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32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133440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742995" indent="-304778">
              <a:lnSpc>
                <a:spcPct val="120000"/>
              </a:lnSpc>
              <a:buFont typeface="Arial" panose="020B0604020202020204" pitchFamily="34" charset="0"/>
              <a:buChar char="»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A572713-B0D8-4A14-BA67-3B990ED43FC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Department of Communiti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7EEC78-42AE-4488-A62C-E2A148B3261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EC7AE4-05DB-4CD8-99A2-70C1B8ABB88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201156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50400"/>
            <a:ext cx="10896000" cy="12336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267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48000" y="1646400"/>
            <a:ext cx="5376000" cy="9984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buNone/>
              <a:defRPr lang="en-US" sz="2667" b="1" dirty="0"/>
            </a:lvl1pPr>
            <a:lvl2pPr marL="609555" indent="0">
              <a:buNone/>
              <a:defRPr sz="2667" b="1"/>
            </a:lvl2pPr>
            <a:lvl3pPr marL="1219108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5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en-US"/>
              <a:t>Click to edit Master subheading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8000" y="2649600"/>
            <a:ext cx="5376000" cy="35424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32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133440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742995" indent="-304778">
              <a:lnSpc>
                <a:spcPct val="120000"/>
              </a:lnSpc>
              <a:buFont typeface="Arial" panose="020B0604020202020204" pitchFamily="34" charset="0"/>
              <a:buChar char="»"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8" y="1646400"/>
            <a:ext cx="5376000" cy="998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10000"/>
              </a:lnSpc>
              <a:buNone/>
              <a:defRPr sz="2667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55" indent="0">
              <a:buNone/>
              <a:defRPr sz="2667" b="1"/>
            </a:lvl2pPr>
            <a:lvl3pPr marL="1219108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5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en-US"/>
              <a:t>Click to edit Master subheading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8" y="2649600"/>
            <a:ext cx="5376000" cy="35424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32" indent="-304778">
              <a:lnSpc>
                <a:spcPct val="120000"/>
              </a:lnSpc>
              <a:buFont typeface="Arial" panose="020B0604020202020204" pitchFamily="34" charset="0"/>
              <a:buChar char="‒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20000"/>
              </a:lnSpc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133440" indent="-304778">
              <a:lnSpc>
                <a:spcPct val="120000"/>
              </a:lnSpc>
              <a:buFont typeface="Arial" panose="020B0604020202020204" pitchFamily="34" charset="0"/>
              <a:buChar char="–"/>
              <a:defRPr sz="2667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742995" indent="-304778">
              <a:lnSpc>
                <a:spcPct val="120000"/>
              </a:lnSpc>
              <a:buFont typeface="Arial" panose="020B0604020202020204" pitchFamily="34" charset="0"/>
              <a:buChar char="»"/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23FE860-ACF0-46C3-9453-5B6B9DA83A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AU"/>
              <a:t>Department of Communities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7D1B213A-7E90-4A68-8670-DAE4C90C94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1EC7AE4-05DB-4CD8-99A2-70C1B8ABB88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323056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image" Target="../media/image8.emf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08FC2AB-FE4A-4363-80BD-15888B33AD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7803" y="12081"/>
            <a:ext cx="12192000" cy="126796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8000" y="12082"/>
            <a:ext cx="10896000" cy="125588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8000" y="1825625"/>
            <a:ext cx="10896000" cy="43513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8008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8000" y="635635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36267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 dt="0"/>
  <p:txStyles>
    <p:titleStyle>
      <a:lvl1pPr algn="l" defTabSz="1219108" rtl="0" eaLnBrk="1" latinLnBrk="0" hangingPunct="1">
        <a:lnSpc>
          <a:spcPct val="90000"/>
        </a:lnSpc>
        <a:spcBef>
          <a:spcPct val="0"/>
        </a:spcBef>
        <a:buNone/>
        <a:defRPr sz="3733" b="1" kern="120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9178" indent="-239178" algn="l" defTabSz="1219108" rtl="0" eaLnBrk="1" latinLnBrk="0" hangingPunct="1">
        <a:lnSpc>
          <a:spcPct val="120000"/>
        </a:lnSpc>
        <a:spcBef>
          <a:spcPts val="1333"/>
        </a:spcBef>
        <a:buFont typeface="Arial" panose="020B0604020202020204" pitchFamily="34" charset="0"/>
        <a:buChar char="•"/>
        <a:defRPr sz="2667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15415" indent="-234945" algn="l" defTabSz="1219108" rtl="0" eaLnBrk="1" latinLnBrk="0" hangingPunct="1">
        <a:lnSpc>
          <a:spcPct val="120000"/>
        </a:lnSpc>
        <a:spcBef>
          <a:spcPts val="667"/>
        </a:spcBef>
        <a:buSzPct val="100000"/>
        <a:buFont typeface="Arial" panose="020B0604020202020204" pitchFamily="34" charset="0"/>
        <a:buChar char="-"/>
        <a:defRPr sz="2667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12301" indent="-239178" algn="l" defTabSz="1219108" rtl="0" eaLnBrk="1" latinLnBrk="0" hangingPunct="1">
        <a:lnSpc>
          <a:spcPct val="12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11303" indent="-234945" algn="l" defTabSz="1219108" rtl="0" eaLnBrk="1" latinLnBrk="0" hangingPunct="1">
        <a:lnSpc>
          <a:spcPct val="120000"/>
        </a:lnSpc>
        <a:spcBef>
          <a:spcPts val="667"/>
        </a:spcBef>
        <a:buFont typeface="Arial" panose="020B0604020202020204" pitchFamily="34" charset="0"/>
        <a:buChar char="-"/>
        <a:defRPr sz="2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391774" indent="-241294" algn="l" defTabSz="1219108" rtl="0" eaLnBrk="1" latinLnBrk="0" hangingPunct="1">
        <a:lnSpc>
          <a:spcPct val="12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548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08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rtifact">
            <a:extLst>
              <a:ext uri="{FF2B5EF4-FFF2-40B4-BE49-F238E27FC236}">
                <a16:creationId xmlns:a16="http://schemas.microsoft.com/office/drawing/2014/main" id="{6084E1B2-69A7-4D7C-8EBA-BAFF9CB40F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468"/>
          <a:stretch/>
        </p:blipFill>
        <p:spPr>
          <a:xfrm>
            <a:off x="9763411" y="6006029"/>
            <a:ext cx="2428589" cy="856792"/>
          </a:xfrm>
          <a:prstGeom prst="rect">
            <a:avLst/>
          </a:prstGeom>
        </p:spPr>
      </p:pic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C0957ECB-D925-4456-8827-AFC0F416B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999" y="350400"/>
            <a:ext cx="10896000" cy="1233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D9F1D0-24A6-4491-8A3C-BC3AA2C1C1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7999" y="1824000"/>
            <a:ext cx="10895999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DDDDC98-F24D-4D67-9910-64BE5473FA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738" y="6356351"/>
            <a:ext cx="57216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67">
                <a:solidFill>
                  <a:schemeClr val="tx1"/>
                </a:solidFill>
              </a:defRPr>
            </a:lvl1pPr>
          </a:lstStyle>
          <a:p>
            <a:fld id="{01EC7AE4-05DB-4CD8-99A2-70C1B8ABB88E}" type="slidenum">
              <a:rPr lang="en-AU" smtClean="0"/>
              <a:pPr/>
              <a:t>‹#›</a:t>
            </a:fld>
            <a:endParaRPr lang="en-A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4AEB4CE-74AC-489B-B58F-2706568DEB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8"/>
            <a:ext cx="12192000" cy="191008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EF634D3C-9F14-4E6C-AB6D-C601E50FDE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8001" y="6356356"/>
            <a:ext cx="25598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AU"/>
              <a:t>Department of Communities</a:t>
            </a:r>
          </a:p>
        </p:txBody>
      </p:sp>
    </p:spTree>
    <p:extLst>
      <p:ext uri="{BB962C8B-B14F-4D97-AF65-F5344CB8AC3E}">
        <p14:creationId xmlns:p14="http://schemas.microsoft.com/office/powerpoint/2010/main" val="2166908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p:hf hdr="0"/>
  <p:txStyles>
    <p:titleStyle>
      <a:lvl1pPr algn="l" defTabSz="1219108" rtl="0" eaLnBrk="1" latinLnBrk="0" hangingPunct="1">
        <a:lnSpc>
          <a:spcPct val="90000"/>
        </a:lnSpc>
        <a:spcBef>
          <a:spcPct val="0"/>
        </a:spcBef>
        <a:buNone/>
        <a:defRPr sz="4267" b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04778" indent="-304778" algn="l" defTabSz="1219108" rtl="0" eaLnBrk="1" latinLnBrk="0" hangingPunct="1">
        <a:lnSpc>
          <a:spcPct val="12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14332" indent="-304778" algn="l" defTabSz="1219108" rtl="0" eaLnBrk="1" latinLnBrk="0" hangingPunct="1">
        <a:lnSpc>
          <a:spcPct val="12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885" indent="-304778" algn="l" defTabSz="1219108" rtl="0" eaLnBrk="1" latinLnBrk="0" hangingPunct="1">
        <a:lnSpc>
          <a:spcPct val="12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440" indent="-304778" algn="l" defTabSz="1219108" rtl="0" eaLnBrk="1" latinLnBrk="0" hangingPunct="1">
        <a:lnSpc>
          <a:spcPct val="12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2995" indent="-304778" algn="l" defTabSz="1219108" rtl="0" eaLnBrk="1" latinLnBrk="0" hangingPunct="1">
        <a:lnSpc>
          <a:spcPct val="12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548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8" algn="l" defTabSz="1219108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08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0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B465F8-0692-4285-BC6C-2B24A8D93E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47776642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38" imgH="338" progId="TCLayout.ActiveDocument.1">
                  <p:embed/>
                </p:oleObj>
              </mc:Choice>
              <mc:Fallback>
                <p:oleObj name="think-cell Slide" r:id="rId35" imgW="338" imgH="33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B465F8-0692-4285-BC6C-2B24A8D93E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4307BE0-3323-40E8-B820-186642C30702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21" name="Group 4">
            <a:extLst>
              <a:ext uri="{FF2B5EF4-FFF2-40B4-BE49-F238E27FC236}">
                <a16:creationId xmlns:a16="http://schemas.microsoft.com/office/drawing/2014/main" id="{070143FB-B49A-43B9-BDD0-6B34F1305A6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D9BF2560-A8D8-44C9-8115-BCB5085894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56D2A493-73F6-40BA-A4BE-DAEC44F3A2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09A7C37-C954-457F-B80C-7BC99BEAE3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/>
            </a:p>
          </p:txBody>
        </p:sp>
      </p:grp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0896A04B-A040-4017-99D1-DD33A2934A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4124" y="6379200"/>
            <a:ext cx="884088" cy="18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algn="l" defTabSz="914400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03410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6" r:id="rId31"/>
  </p:sldLayoutIdLst>
  <p:hf hdr="0"/>
  <p:txStyles>
    <p:titleStyle>
      <a:lvl1pPr algn="l" defTabSz="685434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39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58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7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97" indent="-267319" algn="l" defTabSz="685434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944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61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78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96" indent="-171359" algn="l" defTabSz="685434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1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34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51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68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86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303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020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737" algn="l" defTabSz="685434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a.gov.au/organisation/department-of-communities/16-days-wa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a.gov.au/government/media-statements/Cook-Labor-Government/Boost-for-frontline-response-to-family-and-domestic-violence-20231205" TargetMode="External"/><Relationship Id="rId3" Type="http://schemas.openxmlformats.org/officeDocument/2006/relationships/hyperlink" Target="https://www.wa.gov.au/government/media-statements/Cook-Labor-Government/Justice-reforms-to-target-coercive-control-20231128" TargetMode="External"/><Relationship Id="rId7" Type="http://schemas.openxmlformats.org/officeDocument/2006/relationships/hyperlink" Target="https://www.wa.gov.au/government/media-statements/Cook-Labor-Government/Harsher-penalties-for-perpetrators-who-remove-monitoring-devices-20231130" TargetMode="External"/><Relationship Id="rId2" Type="http://schemas.openxmlformats.org/officeDocument/2006/relationships/hyperlink" Target="https://www.wa.gov.au/government/media-statements/Cook-Labor-Government/More-than-$70-million-to-stop-family-and-domestic-violence--2023112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wa.gov.au/government/media-statements/Cook-Labor-Government/New-counselling-service-to-support-Northam-young-people-20231129" TargetMode="External"/><Relationship Id="rId5" Type="http://schemas.openxmlformats.org/officeDocument/2006/relationships/hyperlink" Target="https://www.wa.gov.au/government/media-statements/Cook-Labor-Government/New-refuge-open-for-women-escaping-family-and-domestic-violence--20231124" TargetMode="External"/><Relationship Id="rId4" Type="http://schemas.openxmlformats.org/officeDocument/2006/relationships/hyperlink" Target="https://www.wa.gov.au/organisation/department-of-justice/commissioner-victims-of-crime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C50F809-2C99-06CD-4DD2-3DB34178A9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0" y="0"/>
            <a:ext cx="12192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690423" y="2254304"/>
            <a:ext cx="8128752" cy="1320808"/>
          </a:xfrm>
        </p:spPr>
        <p:txBody>
          <a:bodyPr>
            <a:noAutofit/>
          </a:bodyPr>
          <a:lstStyle/>
          <a:p>
            <a:r>
              <a:rPr lang="en-US" sz="4200">
                <a:solidFill>
                  <a:schemeClr val="accent5">
                    <a:lumMod val="50000"/>
                  </a:schemeClr>
                </a:solidFill>
              </a:rPr>
              <a:t>Office for Prevention of </a:t>
            </a:r>
            <a:br>
              <a:rPr lang="en-US" sz="4200">
                <a:solidFill>
                  <a:schemeClr val="accent5">
                    <a:lumMod val="50000"/>
                  </a:schemeClr>
                </a:solidFill>
              </a:rPr>
            </a:br>
            <a:r>
              <a:rPr lang="en-US" sz="4133">
                <a:solidFill>
                  <a:schemeClr val="accent5">
                    <a:lumMod val="50000"/>
                  </a:schemeClr>
                </a:solidFill>
              </a:rPr>
              <a:t>Family and Domestic Violence</a:t>
            </a:r>
            <a:endParaRPr lang="en-AU" sz="4133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690423" y="3645280"/>
            <a:ext cx="9621116" cy="49965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650" dirty="0">
                <a:latin typeface="Arial"/>
                <a:cs typeface="Arial"/>
              </a:rPr>
              <a:t>11 December 2023</a:t>
            </a:r>
            <a:br>
              <a:rPr lang="en-US" dirty="0"/>
            </a:b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3290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962795-07C4-61D4-EF4A-A40B27A05DA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/>
        <p:txBody>
          <a:bodyPr/>
          <a:lstStyle/>
          <a:p>
            <a:r>
              <a:rPr lang="en-US" sz="3700" dirty="0">
                <a:latin typeface="Arial"/>
                <a:cs typeface="Arial"/>
              </a:rPr>
              <a:t>16 Days in WA campaign - 2023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46A0B5-7426-63DF-7E8C-9991ACAF239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32071" y="1391055"/>
            <a:ext cx="9268520" cy="5509200"/>
          </a:xfrm>
          <a:prstGeom prst="rect">
            <a:avLst/>
          </a:prstGeom>
          <a:noFill/>
          <a:ln w="28575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b="1" dirty="0">
                <a:latin typeface="Arial"/>
                <a:cs typeface="Arial"/>
              </a:rPr>
              <a:t>Timeframe</a:t>
            </a:r>
          </a:p>
          <a:p>
            <a:pPr marL="285750" indent="-285750">
              <a:buFont typeface="Arial"/>
              <a:buChar char="•"/>
            </a:pPr>
            <a:r>
              <a:rPr lang="en-AU" sz="1400" dirty="0">
                <a:latin typeface="Arial"/>
                <a:cs typeface="Arial"/>
              </a:rPr>
              <a:t>Campaign period: </a:t>
            </a:r>
            <a:r>
              <a:rPr lang="en-AU" sz="1400" b="1" dirty="0">
                <a:latin typeface="Arial"/>
                <a:cs typeface="Arial"/>
              </a:rPr>
              <a:t>25 November – 10 December </a:t>
            </a:r>
          </a:p>
          <a:p>
            <a:endParaRPr lang="en-US" sz="1400" b="1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400" b="1" dirty="0">
                <a:latin typeface="Arial"/>
                <a:cs typeface="Arial"/>
              </a:rPr>
              <a:t>Foc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Arial"/>
                <a:cs typeface="Arial"/>
              </a:rPr>
              <a:t>Campaign theme: </a:t>
            </a:r>
            <a:r>
              <a:rPr lang="en-AU" sz="1400" b="1" dirty="0">
                <a:latin typeface="Arial"/>
                <a:cs typeface="Arial"/>
              </a:rPr>
              <a:t>Stopping family and domestic violence: Play your part</a:t>
            </a:r>
            <a:br>
              <a:rPr lang="en-AU" sz="1400" b="1" dirty="0">
                <a:latin typeface="Arial"/>
                <a:cs typeface="Arial"/>
              </a:rPr>
            </a:br>
            <a:r>
              <a:rPr lang="en-AU" sz="14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16 Days in WA (www.wa.gov.au)</a:t>
            </a:r>
            <a:endParaRPr lang="en-A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b="1" dirty="0">
              <a:latin typeface="Arial"/>
              <a:cs typeface="Arial"/>
            </a:endParaRPr>
          </a:p>
          <a:p>
            <a:r>
              <a:rPr lang="en-AU" sz="1400" b="1" dirty="0">
                <a:latin typeface="Arial"/>
                <a:cs typeface="Arial"/>
              </a:rPr>
              <a:t>Key ev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Arial"/>
                <a:cs typeface="Arial"/>
              </a:rPr>
              <a:t>Business breakfast: 28 November</a:t>
            </a:r>
          </a:p>
          <a:p>
            <a:endParaRPr lang="en-AU" sz="1400" dirty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Arial"/>
                <a:cs typeface="Arial"/>
              </a:rPr>
              <a:t>DPC webinar with award winning author Jess Hill: 1 Dece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dirty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Arial"/>
                <a:cs typeface="Arial"/>
              </a:rPr>
              <a:t>Jackie </a:t>
            </a:r>
            <a:r>
              <a:rPr lang="en-AU" sz="1400" dirty="0" err="1">
                <a:latin typeface="Arial"/>
                <a:cs typeface="Arial"/>
              </a:rPr>
              <a:t>Wruck</a:t>
            </a:r>
            <a:r>
              <a:rPr lang="en-AU" sz="1400" dirty="0">
                <a:latin typeface="Arial"/>
                <a:cs typeface="Arial"/>
              </a:rPr>
              <a:t> – Safe and Together Institute visit to WA: 4 – 8 Dece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dirty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Arial"/>
                <a:cs typeface="Arial"/>
              </a:rPr>
              <a:t>March against Domestic and Family Violence: 5 Decemb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b="1" dirty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Arial"/>
                <a:cs typeface="Arial"/>
              </a:rPr>
              <a:t>Governor’s thank you afternoon tea: 8 Dece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dirty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400" dirty="0">
                <a:latin typeface="Arial"/>
                <a:cs typeface="Arial"/>
              </a:rPr>
              <a:t>Community based events around the state including events supported by </a:t>
            </a:r>
            <a:br>
              <a:rPr lang="en-AU" sz="1400" dirty="0">
                <a:latin typeface="Arial"/>
                <a:cs typeface="Arial"/>
              </a:rPr>
            </a:br>
            <a:r>
              <a:rPr lang="en-AU" sz="1400" dirty="0">
                <a:latin typeface="Arial"/>
                <a:cs typeface="Arial"/>
              </a:rPr>
              <a:t>16 Days small grants including funding to Aboriginal Family Legal Serv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1400" b="1" dirty="0">
              <a:latin typeface="Arial"/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lvl="1"/>
            <a:endParaRPr lang="en-AU" sz="1600" dirty="0">
              <a:latin typeface="Arial"/>
              <a:cs typeface="Arial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3F9F98A7-FFF5-B9E5-3220-83C4140A42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3826" y="1391055"/>
            <a:ext cx="3733529" cy="5252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60655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9E3FD19-ED79-A592-4074-CD0433A2C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ampaign recap - Key announcement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B9A2303-6E6D-1D70-6F7E-E1B9C80575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691" y="1588655"/>
            <a:ext cx="11499273" cy="4588309"/>
          </a:xfrm>
        </p:spPr>
        <p:txBody>
          <a:bodyPr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$72.6M of new investment cross primary prevention, early intervention and respon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Arial"/>
                <a:cs typeface="Arial"/>
              </a:rPr>
              <a:t>      Media statement - </a:t>
            </a:r>
            <a:r>
              <a:rPr lang="en-AU" sz="1400" dirty="0">
                <a:hlinkClick r:id="rId2"/>
              </a:rPr>
              <a:t>More than $70 million to stop family and domestic violence | Western Australian Government (www.wa.gov.au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lease of consultation report on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minalis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coercive control and Government commitment to introduce a range of reforms to strengthen responses to coercive contr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     Media statement - </a:t>
            </a:r>
            <a:r>
              <a:rPr lang="en-AU" sz="1400" dirty="0">
                <a:hlinkClick r:id="rId3"/>
              </a:rPr>
              <a:t>Justice reforms to target coercive control | Western Australian Government (www.wa.gov.au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Arial"/>
                <a:cs typeface="Arial"/>
              </a:rPr>
              <a:t>      Report -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4"/>
              </a:rPr>
              <a:t>Commissioner for Victims of Crime (www.wa.gov.au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oort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ulaar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women’s refuge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Arial"/>
                <a:cs typeface="Arial"/>
              </a:rPr>
              <a:t>      Media statement - </a:t>
            </a:r>
            <a:r>
              <a:rPr lang="en-AU" sz="1400" dirty="0">
                <a:hlinkClick r:id="rId5"/>
              </a:rPr>
              <a:t>New refuge open for women escaping family and domestic violence | Western Australian Government  (www.wa.gov.au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 counselling service in Northam to support children and young people impacted by family and domestic violence to be delivered by Yorgum Healing Serv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US" sz="1400" dirty="0">
                <a:solidFill>
                  <a:prstClr val="black"/>
                </a:solidFill>
                <a:latin typeface="Arial"/>
                <a:cs typeface="Arial"/>
              </a:rPr>
              <a:t>      Media statement - </a:t>
            </a:r>
            <a:r>
              <a:rPr lang="en-AU" sz="1400" dirty="0">
                <a:hlinkClick r:id="rId6"/>
              </a:rPr>
              <a:t>New counselling service to support Northam young people | Western Australian Government (www.wa.gov.au)</a:t>
            </a:r>
            <a:endParaRPr lang="en-AU" sz="14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AU" sz="1400" dirty="0"/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en-AU" sz="1400" dirty="0">
                <a:solidFill>
                  <a:schemeClr val="tx1"/>
                </a:solidFill>
              </a:rPr>
              <a:t>Harsher penalties for perpetrators who remove GPS monitoring devices</a:t>
            </a: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AU" sz="1400" dirty="0">
                <a:solidFill>
                  <a:schemeClr val="tx1"/>
                </a:solidFill>
              </a:rPr>
              <a:t>     Media statement - </a:t>
            </a:r>
            <a:r>
              <a:rPr lang="en-AU" sz="1400" dirty="0">
                <a:hlinkClick r:id="rId7"/>
              </a:rPr>
              <a:t>Harsher penalties for perpetrators who remove monitoring devices | Western Australian Government (www.wa.gov.au)</a:t>
            </a:r>
            <a:endParaRPr lang="en-AU" sz="1400" dirty="0"/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AU" sz="1400" dirty="0"/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en-AU" sz="1400" dirty="0">
                <a:solidFill>
                  <a:schemeClr val="tx1"/>
                </a:solidFill>
              </a:rPr>
              <a:t>Commencement of Family Safety Officers</a:t>
            </a:r>
          </a:p>
          <a:p>
            <a:pPr marL="0" indent="0" defTabSz="9144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AU" sz="1400" dirty="0">
                <a:solidFill>
                  <a:schemeClr val="tx1"/>
                </a:solidFill>
              </a:rPr>
              <a:t>     Media statement </a:t>
            </a:r>
            <a:r>
              <a:rPr lang="en-AU" sz="1400" dirty="0"/>
              <a:t>- </a:t>
            </a:r>
            <a:r>
              <a:rPr lang="en-AU" sz="1400" dirty="0">
                <a:hlinkClick r:id="rId8"/>
              </a:rPr>
              <a:t>Boost for frontline response to family and domestic violence | Western Australian Government (www.wa.gov.au)</a:t>
            </a:r>
            <a:endParaRPr lang="en-AU" sz="1400" dirty="0"/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defTabSz="914400">
              <a:lnSpc>
                <a:spcPct val="100000"/>
              </a:lnSpc>
              <a:spcBef>
                <a:spcPts val="0"/>
              </a:spcBef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dirty="0">
              <a:solidFill>
                <a:prstClr val="black"/>
              </a:solidFill>
              <a:latin typeface="Arial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74144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22A5E4A-BFC8-8FB5-3CDD-C33725B70F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AU" sz="1400" dirty="0">
                <a:solidFill>
                  <a:schemeClr val="tx1"/>
                </a:solidFill>
                <a:effectLst/>
                <a:ea typeface="Times New Roman" panose="02020603050405020304" pitchFamily="18" charset="0"/>
              </a:rPr>
              <a:t>The funding package provides:</a:t>
            </a:r>
            <a:endParaRPr lang="en-AU" sz="1400" dirty="0">
              <a:solidFill>
                <a:schemeClr val="tx1"/>
              </a:solidFill>
              <a:effectLst/>
              <a:ea typeface="Calibri" panose="020F0502020204030204" pitchFamily="34" charset="0"/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AU" sz="14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$13.34 million to boost effort around primary prevention and early intervention.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AU" sz="14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$6.04 million to expand perpetrator interventions into regional Western Australia. 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AU" sz="14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$45 million to maintain and expand crisis responses for victim survivors which includes a commitment to build a new refuge in Perth’s northern suburbs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AU" sz="14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$2.15 million for workforce development including to support the identification of and responses to coercive-control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AU" sz="140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$6 million for Aboriginal led responses to family violence.</a:t>
            </a:r>
          </a:p>
          <a:p>
            <a:pPr marL="0" indent="0">
              <a:buNone/>
            </a:pPr>
            <a:endParaRPr lang="en-AU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25087A-1ADA-C5F5-FC8F-7F85CAD735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0FF12B-07E0-26D6-5DCC-4AA1D65F21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unding announcement</a:t>
            </a:r>
          </a:p>
        </p:txBody>
      </p:sp>
    </p:spTree>
    <p:extLst>
      <p:ext uri="{BB962C8B-B14F-4D97-AF65-F5344CB8AC3E}">
        <p14:creationId xmlns:p14="http://schemas.microsoft.com/office/powerpoint/2010/main" val="5190318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7AAF731-31FF-FEE2-63C5-5C9FB46141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000" dirty="0"/>
              <a:t>$6 million for Aboriginal Family Safety Grants – competitive EOI</a:t>
            </a:r>
          </a:p>
          <a:p>
            <a:r>
              <a:rPr lang="en-AU" sz="2000" dirty="0"/>
              <a:t>$6 million for Primary Prevention Grants – competitive EOI</a:t>
            </a:r>
          </a:p>
          <a:p>
            <a:r>
              <a:rPr lang="en-AU" sz="2000" dirty="0"/>
              <a:t>$3.1 million for three new Men’s Behaviour Change Programs </a:t>
            </a:r>
          </a:p>
          <a:p>
            <a:r>
              <a:rPr lang="en-AU" sz="2000" dirty="0"/>
              <a:t>$3.1 million for three new Safe at Home Programs</a:t>
            </a:r>
          </a:p>
          <a:p>
            <a:r>
              <a:rPr lang="en-AU" sz="2000" dirty="0"/>
              <a:t>$7 million for flexible support package funding</a:t>
            </a:r>
          </a:p>
          <a:p>
            <a:endParaRPr lang="en-AU" sz="16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3A68EA-E23A-8BD6-3004-2CDF2B6889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06877E-D4E6-FE63-7370-003C9350E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curement planning</a:t>
            </a:r>
          </a:p>
        </p:txBody>
      </p:sp>
    </p:spTree>
    <p:extLst>
      <p:ext uri="{BB962C8B-B14F-4D97-AF65-F5344CB8AC3E}">
        <p14:creationId xmlns:p14="http://schemas.microsoft.com/office/powerpoint/2010/main" val="3689900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B0F8969-3407-3DB8-3A41-C241B906C3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000" dirty="0"/>
              <a:t>$1.6 million for Respectful Relationships</a:t>
            </a:r>
          </a:p>
          <a:p>
            <a:r>
              <a:rPr lang="en-AU" sz="2000" dirty="0"/>
              <a:t>$2.15 million for First Responder Training</a:t>
            </a:r>
          </a:p>
          <a:p>
            <a:r>
              <a:rPr lang="en-AU" sz="2000" dirty="0"/>
              <a:t>$5 million for Community Education campaign</a:t>
            </a:r>
          </a:p>
          <a:p>
            <a:pPr marL="0" indent="0">
              <a:buNone/>
            </a:pPr>
            <a:endParaRPr lang="en-AU" sz="1400" dirty="0"/>
          </a:p>
          <a:p>
            <a:endParaRPr lang="en-AU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2DDB8D-5601-F02A-D9B1-291578720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BDFAA1-5909-72BF-0D77-C2AC91050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ending further service design</a:t>
            </a:r>
          </a:p>
        </p:txBody>
      </p:sp>
    </p:spTree>
    <p:extLst>
      <p:ext uri="{BB962C8B-B14F-4D97-AF65-F5344CB8AC3E}">
        <p14:creationId xmlns:p14="http://schemas.microsoft.com/office/powerpoint/2010/main" val="27467391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FE37CA4-51A8-BA92-E296-E891C31613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000" dirty="0"/>
              <a:t>Stirling Women’s Refuge</a:t>
            </a:r>
          </a:p>
          <a:p>
            <a:r>
              <a:rPr lang="en-AU" sz="2000" dirty="0"/>
              <a:t>Hedland Breathing Space</a:t>
            </a:r>
          </a:p>
          <a:p>
            <a:r>
              <a:rPr lang="en-AU" sz="2000" dirty="0"/>
              <a:t>New </a:t>
            </a:r>
            <a:r>
              <a:rPr lang="en-AU" sz="2000" dirty="0" err="1"/>
              <a:t>Ruah</a:t>
            </a:r>
            <a:r>
              <a:rPr lang="en-AU" sz="2000" dirty="0"/>
              <a:t> Refuge</a:t>
            </a:r>
          </a:p>
          <a:p>
            <a:r>
              <a:rPr lang="en-AU" sz="2000" dirty="0"/>
              <a:t>Munda Mia</a:t>
            </a:r>
          </a:p>
          <a:p>
            <a:r>
              <a:rPr lang="en-AU" sz="2000" dirty="0"/>
              <a:t>Housing Families Program </a:t>
            </a:r>
          </a:p>
          <a:p>
            <a:r>
              <a:rPr lang="en-AU" sz="2000" dirty="0"/>
              <a:t>Preventing Violence Togeth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AB7ECD-936F-F455-B842-17E1B3672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EE79CE-A32E-7895-9F03-08EE2DD28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irect funding</a:t>
            </a:r>
          </a:p>
        </p:txBody>
      </p:sp>
    </p:spTree>
    <p:extLst>
      <p:ext uri="{BB962C8B-B14F-4D97-AF65-F5344CB8AC3E}">
        <p14:creationId xmlns:p14="http://schemas.microsoft.com/office/powerpoint/2010/main" val="4178254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163CFC3-CB2F-8E0B-8174-DA73F4C8EC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sz="2000" dirty="0"/>
              <a:t>Innovative perpetrator response</a:t>
            </a:r>
          </a:p>
          <a:p>
            <a:r>
              <a:rPr lang="en-AU" sz="2000" dirty="0"/>
              <a:t>50 new family, domestic and sexual violence worker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CADA5C4-F011-96FC-BF12-2E3CD06B3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BD9777-AF50-DAC7-0BB0-883227BC5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Ongoing procurements</a:t>
            </a:r>
          </a:p>
        </p:txBody>
      </p:sp>
    </p:spTree>
    <p:extLst>
      <p:ext uri="{BB962C8B-B14F-4D97-AF65-F5344CB8AC3E}">
        <p14:creationId xmlns:p14="http://schemas.microsoft.com/office/powerpoint/2010/main" val="4122706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i2uD3MS_yGgGaPIzQt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pKBWSnSJ.ccUJHCsLN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NoPkh7RJeld2Tt2EME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bhTKNHZKjbJXjt_YGP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y7OL3S2mLyJamqKVT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GtGvZ0RGy4zwfwuXWY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g8qJReQ.C1lsvTA7AS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-Template_FDV_03">
  <a:themeElements>
    <a:clrScheme name="Custom 1">
      <a:dk1>
        <a:sysClr val="windowText" lastClr="000000"/>
      </a:dk1>
      <a:lt1>
        <a:sysClr val="window" lastClr="FFFFFF"/>
      </a:lt1>
      <a:dk2>
        <a:srgbClr val="403F47"/>
      </a:dk2>
      <a:lt2>
        <a:srgbClr val="DBD7D3"/>
      </a:lt2>
      <a:accent1>
        <a:srgbClr val="2C5C86"/>
      </a:accent1>
      <a:accent2>
        <a:srgbClr val="3B7AA5"/>
      </a:accent2>
      <a:accent3>
        <a:srgbClr val="59BBC8"/>
      </a:accent3>
      <a:accent4>
        <a:srgbClr val="A6D6D8"/>
      </a:accent4>
      <a:accent5>
        <a:srgbClr val="F1C446"/>
      </a:accent5>
      <a:accent6>
        <a:srgbClr val="58595B"/>
      </a:accent6>
      <a:hlink>
        <a:srgbClr val="0000FF"/>
      </a:hlink>
      <a:folHlink>
        <a:srgbClr val="3B7AA5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-Template_FDV_03" id="{A52853A7-C565-48F1-91FC-8237BE49A8AE}" vid="{F4808B3D-CAAD-4101-9282-DC75CF71623E}"/>
    </a:ext>
  </a:extLst>
</a:theme>
</file>

<file path=ppt/theme/theme2.xml><?xml version="1.0" encoding="utf-8"?>
<a:theme xmlns:a="http://schemas.openxmlformats.org/drawingml/2006/main" name="Blue Theme">
  <a:themeElements>
    <a:clrScheme name="Communities Colours">
      <a:dk1>
        <a:srgbClr val="403F47"/>
      </a:dk1>
      <a:lt1>
        <a:sysClr val="window" lastClr="FFFFFF"/>
      </a:lt1>
      <a:dk2>
        <a:srgbClr val="2C5C86"/>
      </a:dk2>
      <a:lt2>
        <a:srgbClr val="E7E6E6"/>
      </a:lt2>
      <a:accent1>
        <a:srgbClr val="2C5C86"/>
      </a:accent1>
      <a:accent2>
        <a:srgbClr val="3B7AA5"/>
      </a:accent2>
      <a:accent3>
        <a:srgbClr val="59BBC8"/>
      </a:accent3>
      <a:accent4>
        <a:srgbClr val="A6D6D8"/>
      </a:accent4>
      <a:accent5>
        <a:srgbClr val="F1C446"/>
      </a:accent5>
      <a:accent6>
        <a:srgbClr val="DBD7D3"/>
      </a:accent6>
      <a:hlink>
        <a:srgbClr val="2C5C86"/>
      </a:hlink>
      <a:folHlink>
        <a:srgbClr val="3B7AA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EY light background">
  <a:themeElements>
    <a:clrScheme name="Custom 26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Y_standard_presentation_white_2019_v1.4.potx" id="{B1BB6F84-887A-4481-A2E9-E65164E9E8D9}" vid="{376E73E5-8DC0-44A2-A15E-951FEB383F8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H_CustodianPositionNumber xmlns="e219927d-a993-4410-b48d-734d4bcf1f5b" xsi:nil="true"/>
    <c97e1212f54f41a69410faab50a8975b xmlns="e219927d-a993-4410-b48d-734d4bcf1f5b">
      <Terms xmlns="http://schemas.microsoft.com/office/infopath/2007/PartnerControls"/>
    </c97e1212f54f41a69410faab50a8975b>
    <DOH_PublishToServicesPage xmlns="e219927d-a993-4410-b48d-734d4bcf1f5b">false</DOH_PublishToServicesPage>
    <TaxCatchAll xmlns="e219927d-a993-4410-b48d-734d4bcf1f5b" xsi:nil="true"/>
  </documentManagement>
</p:properties>
</file>

<file path=customXml/item2.xml><?xml version="1.0" encoding="utf-8"?>
<?mso-contentType ?>
<SharedContentType xmlns="Microsoft.SharePoint.Taxonomy.ContentTypeSync" SourceId="797e278f-9f50-4af2-bc61-3ec198ebef6c" ContentTypeId="0x01010000739C5F412E4FFF9422A5756B897F2D" PreviousValue="false" LastSyncTimeStamp="2020-09-23T04:32:28.113Z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 Document" ma:contentTypeID="0x01010000739C5F412E4FFF9422A5756B897F2D0098D7A2CE8A97DD4B883A19939D38C2B8" ma:contentTypeVersion="2" ma:contentTypeDescription="Department of Communities document" ma:contentTypeScope="" ma:versionID="8480d90f09914839ca60e97ce436d9f8">
  <xsd:schema xmlns:xsd="http://www.w3.org/2001/XMLSchema" xmlns:xs="http://www.w3.org/2001/XMLSchema" xmlns:p="http://schemas.microsoft.com/office/2006/metadata/properties" xmlns:ns2="e219927d-a993-4410-b48d-734d4bcf1f5b" targetNamespace="http://schemas.microsoft.com/office/2006/metadata/properties" ma:root="true" ma:fieldsID="a7f65b6c63afa81dea0d034796b55d83" ns2:_="">
    <xsd:import namespace="e219927d-a993-4410-b48d-734d4bcf1f5b"/>
    <xsd:element name="properties">
      <xsd:complexType>
        <xsd:sequence>
          <xsd:element name="documentManagement">
            <xsd:complexType>
              <xsd:all>
                <xsd:element ref="ns2:c97e1212f54f41a69410faab50a8975b" minOccurs="0"/>
                <xsd:element ref="ns2:TaxCatchAll" minOccurs="0"/>
                <xsd:element ref="ns2:TaxCatchAllLabel" minOccurs="0"/>
                <xsd:element ref="ns2:DOH_PublishToServicesPage" minOccurs="0"/>
                <xsd:element ref="ns2:DOH_CustodianPositionNumb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19927d-a993-4410-b48d-734d4bcf1f5b" elementFormDefault="qualified">
    <xsd:import namespace="http://schemas.microsoft.com/office/2006/documentManagement/types"/>
    <xsd:import namespace="http://schemas.microsoft.com/office/infopath/2007/PartnerControls"/>
    <xsd:element name="c97e1212f54f41a69410faab50a8975b" ma:index="8" nillable="true" ma:taxonomy="true" ma:internalName="c97e1212f54f41a69410faab50a8975b" ma:taxonomyFieldName="DOH_Service2" ma:displayName="Service" ma:fieldId="{c97e1212-f54f-41a6-9410-faab50a8975b}" ma:taxonomyMulti="true" ma:sspId="797e278f-9f50-4af2-bc61-3ec198ebef6c" ma:termSetId="d47a7c0a-1b49-4428-b8bc-9d0e53da98c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97f95b5a-a9f5-4455-acb9-981b6493be6a}" ma:internalName="TaxCatchAll" ma:showField="CatchAllData" ma:web="d69bfe25-53fd-4a26-bd80-6326da8bc4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97f95b5a-a9f5-4455-acb9-981b6493be6a}" ma:internalName="TaxCatchAllLabel" ma:readOnly="true" ma:showField="CatchAllDataLabel" ma:web="d69bfe25-53fd-4a26-bd80-6326da8bc4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OH_PublishToServicesPage" ma:index="12" nillable="true" ma:displayName="Publish to Services Page" ma:default="0" ma:internalName="DOH_PublishToServicesPage">
      <xsd:simpleType>
        <xsd:restriction base="dms:Boolean"/>
      </xsd:simpleType>
    </xsd:element>
    <xsd:element name="DOH_CustodianPositionNumber" ma:index="13" nillable="true" ma:displayName="Custodian Position Number" ma:internalName="DOH_CustodianPositionNumber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D30FC6-BF8C-4D0C-B011-CC91C190D5FB}">
  <ds:schemaRefs>
    <ds:schemaRef ds:uri="http://schemas.microsoft.com/office/infopath/2007/PartnerControls"/>
    <ds:schemaRef ds:uri="e219927d-a993-4410-b48d-734d4bcf1f5b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3A40024-6AD5-43FC-9859-363D142E98A6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5FBF91FD-B7C8-4582-8D5E-6A10525DCCD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8942600-3A9E-4C33-B58E-95C2F0C47406}">
  <ds:schemaRefs>
    <ds:schemaRef ds:uri="e219927d-a993-4410-b48d-734d4bcf1f5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3</TotalTime>
  <Words>580</Words>
  <Application>Microsoft Office PowerPoint</Application>
  <PresentationFormat>Widescreen</PresentationFormat>
  <Paragraphs>74</Paragraphs>
  <Slides>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Calibri</vt:lpstr>
      <vt:lpstr>Courier New</vt:lpstr>
      <vt:lpstr>EYInterstate</vt:lpstr>
      <vt:lpstr>EYInterstate Light</vt:lpstr>
      <vt:lpstr>Georgia</vt:lpstr>
      <vt:lpstr>Symbol</vt:lpstr>
      <vt:lpstr>Powerpoint-Template_FDV_03</vt:lpstr>
      <vt:lpstr>Blue Theme</vt:lpstr>
      <vt:lpstr>EY light background</vt:lpstr>
      <vt:lpstr>think-cell Slide</vt:lpstr>
      <vt:lpstr>Office for Prevention of  Family and Domestic Violence</vt:lpstr>
      <vt:lpstr>16 Days in WA campaign - 2023</vt:lpstr>
      <vt:lpstr>Campaign recap - Key announcements</vt:lpstr>
      <vt:lpstr>Funding announcement</vt:lpstr>
      <vt:lpstr>Procurement planning</vt:lpstr>
      <vt:lpstr>Pending further service design</vt:lpstr>
      <vt:lpstr>Direct funding</vt:lpstr>
      <vt:lpstr>Ongoing procure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fice for Prevention of  Family and Domestic Violence</dc:title>
  <dc:creator>Zoe Smith</dc:creator>
  <cp:lastModifiedBy>Rachael Skehan</cp:lastModifiedBy>
  <cp:revision>8</cp:revision>
  <cp:lastPrinted>2023-11-09T02:41:55Z</cp:lastPrinted>
  <dcterms:created xsi:type="dcterms:W3CDTF">2023-04-03T02:46:44Z</dcterms:created>
  <dcterms:modified xsi:type="dcterms:W3CDTF">2023-12-12T06:2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0739C5F412E4FFF9422A5756B897F2D0098D7A2CE8A97DD4B883A19939D38C2B8</vt:lpwstr>
  </property>
  <property fmtid="{D5CDD505-2E9C-101B-9397-08002B2CF9AE}" pid="3" name="lcf76f155ced4ddcb4097134ff3c332f">
    <vt:lpwstr/>
  </property>
  <property fmtid="{D5CDD505-2E9C-101B-9397-08002B2CF9AE}" pid="4" name="MediaServiceImageTags">
    <vt:lpwstr/>
  </property>
  <property fmtid="{D5CDD505-2E9C-101B-9397-08002B2CF9AE}" pid="5" name="DOH_Service2">
    <vt:lpwstr/>
  </property>
  <property fmtid="{D5CDD505-2E9C-101B-9397-08002B2CF9AE}" pid="6" name="SharedWithUsers">
    <vt:lpwstr>78;#Fiona McQuisten;#25;#Selina Getley;#79;#Amanda Crowley;#67;#Mike Bastow;#33;#Stacey Collins;#50;#Emma Roscoe;#54;#Nikki Kozulin;#68;#Tamara Kendall;#61;#Zoe Smith</vt:lpwstr>
  </property>
</Properties>
</file>